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94" r:id="rId2"/>
  </p:sldMasterIdLst>
  <p:notesMasterIdLst>
    <p:notesMasterId r:id="rId12"/>
  </p:notesMasterIdLst>
  <p:sldIdLst>
    <p:sldId id="300" r:id="rId3"/>
    <p:sldId id="294" r:id="rId4"/>
    <p:sldId id="270" r:id="rId5"/>
    <p:sldId id="282" r:id="rId6"/>
    <p:sldId id="297" r:id="rId7"/>
    <p:sldId id="296" r:id="rId8"/>
    <p:sldId id="274" r:id="rId9"/>
    <p:sldId id="298" r:id="rId10"/>
    <p:sldId id="299" r:id="rId11"/>
  </p:sldIdLst>
  <p:sldSz cx="24382413" cy="13716000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Montserrat Black italic" panose="00000A00000000000000" pitchFamily="2" charset="0"/>
      <p:boldItalic r:id="rId17"/>
    </p:embeddedFont>
    <p:embeddedFont>
      <p:font typeface="Montserrat Medium" panose="00000600000000000000" pitchFamily="2" charset="0"/>
      <p:regular r:id="rId18"/>
      <p:italic r:id="rId19"/>
    </p:embeddedFont>
    <p:embeddedFont>
      <p:font typeface="Aleo" panose="00000500000000000000" pitchFamily="2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a-DK"/>
    </a:defPPr>
    <a:lvl1pPr marL="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09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617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926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234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543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851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160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468" algn="l" defTabSz="1828617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5C5FF"/>
    <a:srgbClr val="C8D4FF"/>
    <a:srgbClr val="6B8BFF"/>
    <a:srgbClr val="7E9AFF"/>
    <a:srgbClr val="FEAA95"/>
    <a:srgbClr val="FE886B"/>
    <a:srgbClr val="FD7755"/>
    <a:srgbClr val="FE9980"/>
    <a:srgbClr val="FECCBF"/>
    <a:srgbClr val="E19D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5" autoAdjust="0"/>
    <p:restoredTop sz="86122" autoAdjust="0"/>
  </p:normalViewPr>
  <p:slideViewPr>
    <p:cSldViewPr snapToGrid="0">
      <p:cViewPr varScale="1">
        <p:scale>
          <a:sx n="35" d="100"/>
          <a:sy n="35" d="100"/>
        </p:scale>
        <p:origin x="226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font" Target="fonts/font9.fntdata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112DC-F440-4AD9-97D2-FE4C5EED17BC}" type="datetimeFigureOut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489D6B-D3A3-48CA-8A36-141E477FC9F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335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39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078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617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156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695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4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2" algn="l" defTabSz="121907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657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Har vi nogle teori citater om dette emne?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51648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Koges ned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8648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8837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489D6B-D3A3-48CA-8A36-141E477FC9F6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285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tmp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tm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tm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tm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3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tmp"/><Relationship Id="rId5" Type="http://schemas.openxmlformats.org/officeDocument/2006/relationships/image" Target="../media/image4.tmp"/><Relationship Id="rId4" Type="http://schemas.openxmlformats.org/officeDocument/2006/relationships/image" Target="../media/image2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0.tmp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0.tm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0.tm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tm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8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0.tm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tmp"/><Relationship Id="rId13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tmp"/><Relationship Id="rId12" Type="http://schemas.openxmlformats.org/officeDocument/2006/relationships/image" Target="../media/image37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1.tmp"/><Relationship Id="rId11" Type="http://schemas.openxmlformats.org/officeDocument/2006/relationships/image" Target="../media/image36.tmp"/><Relationship Id="rId5" Type="http://schemas.openxmlformats.org/officeDocument/2006/relationships/image" Target="../media/image1.emf"/><Relationship Id="rId10" Type="http://schemas.openxmlformats.org/officeDocument/2006/relationships/image" Target="../media/image35.tmp"/><Relationship Id="rId4" Type="http://schemas.openxmlformats.org/officeDocument/2006/relationships/oleObject" Target="../embeddings/oleObject7.bin"/><Relationship Id="rId9" Type="http://schemas.openxmlformats.org/officeDocument/2006/relationships/image" Target="../media/image34.tmp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tmp"/><Relationship Id="rId4" Type="http://schemas.openxmlformats.org/officeDocument/2006/relationships/image" Target="../media/image4.tmp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tmp"/><Relationship Id="rId4" Type="http://schemas.openxmlformats.org/officeDocument/2006/relationships/image" Target="../media/image3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tmp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tm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9.tmp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4.tmp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42.tmp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1.png"/><Relationship Id="rId4" Type="http://schemas.openxmlformats.org/officeDocument/2006/relationships/image" Target="../media/image23.tmp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9.tmp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tmp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3.tm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tmp"/><Relationship Id="rId4" Type="http://schemas.openxmlformats.org/officeDocument/2006/relationships/image" Target="../media/image4.tm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866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62AD3-3470-4ED7-BED8-E68AC42F60FE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428402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CEF85-772A-4848-BE43-8A6DE21F2B36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7554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C4B458-DDEF-4354-A66B-D3534DBF0FBD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24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8C8A5-7CC0-47D5-A8A7-8F1A13624688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248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5F599-382B-441D-880B-72525F707DD9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2879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C2984-21AF-4197-978E-77C4886D30BC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6674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5814C-8DF7-4031-A57E-7808B35CDF4B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2D77B6A-7688-44AF-968D-86688374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5769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0A2D4-C48E-45E7-80B0-87473F233B26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BB98B3E-36AA-4C0D-9344-303923ABCE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376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355C10-F787-4387-88E4-DA73F0A7C287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E56E69A5-BFDA-4DCE-B43B-CA8020E8C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37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DA8AF-D063-46A0-87EE-B388FB6E7545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775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95830"/>
            <a:ext cx="2806401" cy="101600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079547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3427584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4E89-8327-48E1-93AD-86C1CB69F00B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19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5F3C5-36B9-4C73-8282-0D9BFC53856D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80612" y="11602"/>
            <a:ext cx="3722021" cy="208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8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D77EF-EE13-4EC4-A2F2-5290FC4774CD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grpSp>
        <p:nvGrpSpPr>
          <p:cNvPr id="21" name="Gruppe 20">
            <a:extLst>
              <a:ext uri="{FF2B5EF4-FFF2-40B4-BE49-F238E27FC236}">
                <a16:creationId xmlns:a16="http://schemas.microsoft.com/office/drawing/2014/main" id="{96600C39-96D6-4779-9E1F-F2DCCFD58164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6FAABF98-D5E1-4A37-B573-DCB357FB55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A063DB80-7AC2-4E9E-9768-1CF1E52EE530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656DC5FF-43D7-4AA5-AB4F-656B25B092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7" name="Billede 16">
              <a:extLst>
                <a:ext uri="{FF2B5EF4-FFF2-40B4-BE49-F238E27FC236}">
                  <a16:creationId xmlns:a16="http://schemas.microsoft.com/office/drawing/2014/main" id="{43AFCEE5-AE1D-4119-BB4F-C2E4D79255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D6C0182D-3DB4-4378-9EE7-09ADAAF5E6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2213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511DB-C519-40A8-9078-5E26AD96508B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CA932843-8276-48B2-A582-51EE4D60F822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88110015-EB7B-4BB0-9396-BA1AEC590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0DADD0A-2CE2-4A0B-825B-3852E655318D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9BD204E-9D68-444C-A38C-0415F143AC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E6176E5D-A4F8-4945-9118-6976D0C000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10A504C2-3A5C-4261-A6A3-45F5AB8428B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3101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EF6CE-F470-400E-8531-BFB161528B95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6A2EDF43-97B5-4D8E-94F9-A04207DEDF28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E3E15280-E936-4476-984C-0A82213691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BA1E9F8F-CAEC-4094-89F2-AC47103E566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9625B9BC-430A-40B9-8F87-038F62D03D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9BA44C4E-855C-4F70-B6BB-B9DC774E78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5E00F52-A38F-42F2-BC9B-F4E470CF42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078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killeblad_Hvi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979A6-2EAE-441B-8B2B-D8241A3F6301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002AA528-F42F-451A-B852-51264B7ECB35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015E1033-88BC-42A2-8CD5-F6F2DD08E7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F62382AD-C2DE-4265-B486-B0395734DDAA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 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F3E9C743-A4EF-4CCD-928E-D7EF06785F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CEC941EF-DD4C-4859-882A-8C84DF93CD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8CE1E382-0A5F-49FF-A7C2-C3FDE2DEE6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257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F60595-A833-40E6-9305-6FFF8C3F8C77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A8DDDC70-C042-4C36-8CD0-FE358EA9A839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3ED63CE5-CDF4-4073-A2E2-5DC6E189F4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DD4B1308-FA52-44D8-A279-A058FF9E1127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2E63449D-6474-4919-8F72-FEA483DA9C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AAB14FB1-2623-4FC8-B9C8-764ECC972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47D231C1-13B6-40D3-AA49-6F4248A786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3215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D18E8-6DF2-4E11-A35B-FE280AB0FA24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0" name="Gruppe 9">
            <a:extLst>
              <a:ext uri="{FF2B5EF4-FFF2-40B4-BE49-F238E27FC236}">
                <a16:creationId xmlns:a16="http://schemas.microsoft.com/office/drawing/2014/main" id="{592B8A3E-8881-4F9B-B233-28CDBC9CFFA7}"/>
              </a:ext>
            </a:extLst>
          </p:cNvPr>
          <p:cNvGrpSpPr/>
          <p:nvPr userDrawn="1"/>
        </p:nvGrpSpPr>
        <p:grpSpPr>
          <a:xfrm>
            <a:off x="24775960" y="7100"/>
            <a:ext cx="3894290" cy="6702284"/>
            <a:chOff x="24775960" y="7100"/>
            <a:chExt cx="3894290" cy="6702284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id="{4CB0326E-4E94-44C9-A37D-521A781F49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75960" y="7100"/>
              <a:ext cx="3722022" cy="2090512"/>
            </a:xfrm>
            <a:prstGeom prst="rect">
              <a:avLst/>
            </a:prstGeom>
          </p:spPr>
        </p:pic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1B90ADAD-F236-4ADA-ACDE-D6B3E693AC49}"/>
                </a:ext>
              </a:extLst>
            </p:cNvPr>
            <p:cNvSpPr txBox="1"/>
            <p:nvPr userDrawn="1"/>
          </p:nvSpPr>
          <p:spPr>
            <a:xfrm>
              <a:off x="24775960" y="2355578"/>
              <a:ext cx="3894290" cy="4353806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t skilleblad/skyline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  <a:p>
              <a:endParaRPr lang="da-DK" sz="1500" dirty="0"/>
            </a:p>
            <a:p>
              <a:r>
                <a:rPr lang="da-DK" sz="1500" b="1" dirty="0"/>
                <a:t>Ændre baggrundsfarve</a:t>
              </a:r>
              <a:r>
                <a:rPr lang="da-DK" sz="1500" dirty="0"/>
                <a:t> på følgende måde: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Højreklik og vælg ”Formater baggrund”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I panelet til højre kliker du på 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da-DK" sz="1500" dirty="0"/>
                <a:t>Vælg derefter den ønskede farve.</a:t>
              </a:r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  <a:p>
              <a:pPr marL="171450" indent="-171450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endParaRPr lang="da-DK" sz="1500" dirty="0"/>
            </a:p>
          </p:txBody>
        </p:sp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id="{0A0A27CE-1AD8-4A1E-9965-79789C0D9A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2584871"/>
              <a:ext cx="724001" cy="238158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id="{5CAF45A4-58DA-47DD-9268-5293DFCAD2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78835" y="4203678"/>
              <a:ext cx="485843" cy="304843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07CCF5B2-001F-4998-B0AA-BF890F22B5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"/>
            <a:stretch/>
          </p:blipFill>
          <p:spPr>
            <a:xfrm>
              <a:off x="24948435" y="4813761"/>
              <a:ext cx="1613615" cy="409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36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04784-2E94-4404-AAB5-E3D4584676A2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9C5A1CE9-D954-49C5-BC10-130E9090B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457097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E8CBD-B5A3-4F63-B947-1BC6BD2A4ED7}" type="datetime1">
              <a:rPr lang="da-DK" smtClean="0"/>
              <a:t>05-02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C23AE436-F19A-4F86-8B46-D496621A24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9506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10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6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7" y="10660579"/>
            <a:ext cx="24382405" cy="305542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C1AB885F-9826-44E5-9307-81E190D36345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4CAC0139-C60B-4853-8C3F-6BA9F6B204B6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8069BC05-0ADF-4520-B1A4-6616C28A7F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4" name="Billede 3" descr="Et billede, der indeholder bord&#10;&#10;Automatisk genereret beskrivelse">
            <a:extLst>
              <a:ext uri="{FF2B5EF4-FFF2-40B4-BE49-F238E27FC236}">
                <a16:creationId xmlns:a16="http://schemas.microsoft.com/office/drawing/2014/main" id="{176586CF-AD19-4E67-8540-C69ACCF84B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04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Blå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29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E8CDBB5B-FD56-4B40-98F9-977080C1A8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" y="10660579"/>
            <a:ext cx="24382413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BAD80F01-8D56-4A8B-B8C2-ECD37880B546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02D842A4-F131-4E1C-86E2-E576874900B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E131FF3C-6D22-43FC-B692-82D9C518F3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692B9945-7AF6-4AAE-88EB-8E594929612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29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røn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388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FF72ECC-46EF-481C-82F5-824FD34C0C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0579"/>
            <a:ext cx="24372276" cy="305542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744F1145-B8CC-4461-BC11-7DA03773DF6A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C2A650F-700A-4593-B01D-2A3FA8FC30E4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10D102BC-9FF1-4122-87FE-4F0DBA5002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2797B418-E90D-4CF6-B9F5-4EAFDD948B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514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Gul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11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CD20C11-F25A-4DAC-9573-B01E9CB5012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1" y="10661214"/>
            <a:ext cx="24372276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D70BDC96-D812-4EEE-8BF6-80B050365E5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E14FCC1-EF7A-43B6-B2A6-51BA1B4B2D7E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DFDA7F30-3D3B-4851-ACE0-A211965FE2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7A2E69C-088B-4851-BDEA-2715743E489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367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Rød Sky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32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 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D84F268A-2793-4540-A86F-24BC8E067D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26" y="10661214"/>
            <a:ext cx="24362145" cy="3054150"/>
          </a:xfrm>
          <a:prstGeom prst="rect">
            <a:avLst/>
          </a:prstGeo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5FDD825E-7D58-4A0B-8E7B-0125A4D8EE9E}"/>
              </a:ext>
            </a:extLst>
          </p:cNvPr>
          <p:cNvGrpSpPr/>
          <p:nvPr userDrawn="1"/>
        </p:nvGrpSpPr>
        <p:grpSpPr>
          <a:xfrm>
            <a:off x="24775960" y="95250"/>
            <a:ext cx="3894290" cy="1032384"/>
            <a:chOff x="24775960" y="592529"/>
            <a:chExt cx="3894290" cy="103238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E8562470-3801-4B68-894F-C8D67D87AAD8}"/>
                </a:ext>
              </a:extLst>
            </p:cNvPr>
            <p:cNvSpPr txBox="1"/>
            <p:nvPr userDrawn="1"/>
          </p:nvSpPr>
          <p:spPr>
            <a:xfrm>
              <a:off x="24775960" y="592529"/>
              <a:ext cx="3894290" cy="1032384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afslutning </a:t>
              </a:r>
              <a:r>
                <a:rPr lang="da-DK" sz="1500" b="0" dirty="0"/>
                <a:t>ved at klikke på                 under fanen Hjem</a:t>
              </a:r>
            </a:p>
            <a:p>
              <a:endParaRPr lang="da-DK" sz="1500" dirty="0"/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600307A0-B490-4E5C-886A-EDB595B341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8991" y="817057"/>
              <a:ext cx="724001" cy="238158"/>
            </a:xfrm>
            <a:prstGeom prst="rect">
              <a:avLst/>
            </a:prstGeom>
          </p:spPr>
        </p:pic>
      </p:grpSp>
      <p:pic>
        <p:nvPicPr>
          <p:cNvPr id="20" name="Billede 19" descr="Et billede, der indeholder bord&#10;&#10;Automatisk genereret beskrivelse">
            <a:extLst>
              <a:ext uri="{FF2B5EF4-FFF2-40B4-BE49-F238E27FC236}">
                <a16:creationId xmlns:a16="http://schemas.microsoft.com/office/drawing/2014/main" id="{906209B7-C22B-4F8C-822F-07F6C544EF4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1159933"/>
            <a:ext cx="4153480" cy="95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72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ælp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C45372-7324-4DB0-AA0B-85B138A79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632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9110D008-B749-4AE3-9F86-E1022D9077B5}"/>
              </a:ext>
            </a:extLst>
          </p:cNvPr>
          <p:cNvSpPr txBox="1"/>
          <p:nvPr userDrawn="1"/>
        </p:nvSpPr>
        <p:spPr>
          <a:xfrm>
            <a:off x="796876" y="6939190"/>
            <a:ext cx="874717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Nye slides:</a:t>
            </a:r>
          </a:p>
          <a:p>
            <a:pPr algn="l"/>
            <a:r>
              <a:rPr lang="da-DK" sz="2400" dirty="0"/>
              <a:t>Klik på pilen ved knappen ”Ny slide”</a:t>
            </a:r>
          </a:p>
          <a:p>
            <a:pPr algn="l"/>
            <a:r>
              <a:rPr lang="da-DK" sz="2400" dirty="0"/>
              <a:t>Vælg hvilket layout du ønsker.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C32AFB-70A1-4F4D-B59A-2C4B2CF48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7" y="8144770"/>
            <a:ext cx="1094394" cy="8098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E95FDF86-F597-4D53-A1A2-B564A0B0A4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271" y="8396758"/>
            <a:ext cx="6072858" cy="307586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5FCDD91C-4884-4373-9C3F-84F7DB52DB60}"/>
              </a:ext>
            </a:extLst>
          </p:cNvPr>
          <p:cNvSpPr txBox="1"/>
          <p:nvPr userDrawn="1"/>
        </p:nvSpPr>
        <p:spPr>
          <a:xfrm>
            <a:off x="796877" y="11814397"/>
            <a:ext cx="94385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Du kan skifte opstilling ved at klikke på knappen Layout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9229883-FF62-48FA-A6DA-E35F35AF765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12337677"/>
            <a:ext cx="2356825" cy="71325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891FB583-4897-44ED-A5D5-9E12EB04AC3C}"/>
              </a:ext>
            </a:extLst>
          </p:cNvPr>
          <p:cNvSpPr txBox="1"/>
          <p:nvPr userDrawn="1"/>
        </p:nvSpPr>
        <p:spPr>
          <a:xfrm>
            <a:off x="11277402" y="7204892"/>
            <a:ext cx="956629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Input til opstilling:</a:t>
            </a:r>
          </a:p>
          <a:p>
            <a:pPr algn="l"/>
            <a:r>
              <a:rPr lang="da-DK" sz="2400" dirty="0"/>
              <a:t>Øverst til højre uden for selve </a:t>
            </a:r>
            <a:r>
              <a:rPr lang="da-DK" sz="2400" dirty="0" err="1"/>
              <a:t>slidet</a:t>
            </a:r>
            <a:r>
              <a:rPr lang="da-DK" sz="2400" dirty="0"/>
              <a:t> kan du se eksempel på, hvordan hvert layout kan udfyldes, samt guide til forskellige funktioner på det slide. Sæt procenten ned via zoom-funktion nederst til højre. Så bliver guiden synlig.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A42C3C-45BA-4133-B63B-EE2C76730706}"/>
              </a:ext>
            </a:extLst>
          </p:cNvPr>
          <p:cNvSpPr txBox="1"/>
          <p:nvPr userDrawn="1"/>
        </p:nvSpPr>
        <p:spPr>
          <a:xfrm>
            <a:off x="11277402" y="9366351"/>
            <a:ext cx="930912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Farver:</a:t>
            </a:r>
          </a:p>
          <a:p>
            <a:pPr algn="l"/>
            <a:r>
              <a:rPr lang="da-DK" sz="2400" dirty="0"/>
              <a:t>Når du indsætter illustrationer og tabeller, vil de automatisk være i de rigtige farver. Vil du ændre på farverne, skal du vælge blandt den øverste række farver. Det er Roskilde-farverne.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367FDF6-7AC1-4887-9A1D-857EE04FE38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402" y="11222360"/>
            <a:ext cx="3636953" cy="10931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18A63833-40BB-4A22-9BAA-A118D32DF2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1" y="9532961"/>
            <a:ext cx="1817063" cy="1799190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C0CDF8BC-9FF1-447A-93D9-8FFE6809989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3700" y="7131254"/>
            <a:ext cx="2791215" cy="15908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59D3E4F-A515-4084-BFAF-CC397792D5AF}"/>
              </a:ext>
            </a:extLst>
          </p:cNvPr>
          <p:cNvSpPr txBox="1"/>
          <p:nvPr userDrawn="1"/>
        </p:nvSpPr>
        <p:spPr>
          <a:xfrm>
            <a:off x="11277402" y="12312264"/>
            <a:ext cx="94385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/>
              <a:t>Tager du kopi af diagrammer fra Excel, vil farverne og skrifttyperne typisk blive tilpasset PowerPoint.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9B49CA77-B018-4D9C-8820-348995C00B71}"/>
              </a:ext>
            </a:extLst>
          </p:cNvPr>
          <p:cNvSpPr txBox="1"/>
          <p:nvPr userDrawn="1"/>
        </p:nvSpPr>
        <p:spPr>
          <a:xfrm>
            <a:off x="11253020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Sidehoved:</a:t>
            </a:r>
          </a:p>
          <a:p>
            <a:pPr algn="l"/>
            <a:r>
              <a:rPr lang="da-DK" sz="2400" dirty="0"/>
              <a:t>Klik på fanen Indsæt og ”Sidehoved og sidefod”. I dialogboksen udfylder du feltet sidefod, og klik på ”Anvend på alle”</a:t>
            </a:r>
          </a:p>
        </p:txBody>
      </p:sp>
      <p:pic>
        <p:nvPicPr>
          <p:cNvPr id="20" name="Billede 19" descr="Sidehoved og sidefod">
            <a:extLst>
              <a:ext uri="{FF2B5EF4-FFF2-40B4-BE49-F238E27FC236}">
                <a16:creationId xmlns:a16="http://schemas.microsoft.com/office/drawing/2014/main" id="{59C40B6B-6B6E-45E1-A424-93F4771F553F}"/>
              </a:ext>
            </a:extLst>
          </p:cNvPr>
          <p:cNvPicPr/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8" t="62107" r="30556" b="24892"/>
          <a:stretch/>
        </p:blipFill>
        <p:spPr bwMode="auto">
          <a:xfrm>
            <a:off x="11125227" y="5703430"/>
            <a:ext cx="8285199" cy="10573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1" name="Tekstfelt 20">
            <a:extLst>
              <a:ext uri="{FF2B5EF4-FFF2-40B4-BE49-F238E27FC236}">
                <a16:creationId xmlns:a16="http://schemas.microsoft.com/office/drawing/2014/main" id="{03309373-71FF-44CA-80F0-E70B314742F4}"/>
              </a:ext>
            </a:extLst>
          </p:cNvPr>
          <p:cNvSpPr txBox="1"/>
          <p:nvPr userDrawn="1"/>
        </p:nvSpPr>
        <p:spPr>
          <a:xfrm>
            <a:off x="796876" y="4208944"/>
            <a:ext cx="95662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b="1" dirty="0">
                <a:solidFill>
                  <a:schemeClr val="tx2"/>
                </a:solidFill>
              </a:rPr>
              <a:t>Vælg forside:</a:t>
            </a:r>
          </a:p>
          <a:p>
            <a:pPr algn="l"/>
            <a:r>
              <a:rPr lang="da-DK" sz="2400" dirty="0"/>
              <a:t>Du kan vælge mellem andre forsider ved at klikke på knappen Layout og vælge mellem forskellige forsider i oversigten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12475AB8-5F50-43CD-AA80-6DEB7378A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00" b="74860"/>
          <a:stretch/>
        </p:blipFill>
        <p:spPr>
          <a:xfrm>
            <a:off x="796876" y="5770258"/>
            <a:ext cx="4263280" cy="962510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DBB9C9BC-45A0-4F92-B42A-5B32A84E6E64}"/>
              </a:ext>
            </a:extLst>
          </p:cNvPr>
          <p:cNvCxnSpPr/>
          <p:nvPr userDrawn="1"/>
        </p:nvCxnSpPr>
        <p:spPr>
          <a:xfrm>
            <a:off x="10744200" y="3916918"/>
            <a:ext cx="0" cy="87646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Billede 23">
            <a:extLst>
              <a:ext uri="{FF2B5EF4-FFF2-40B4-BE49-F238E27FC236}">
                <a16:creationId xmlns:a16="http://schemas.microsoft.com/office/drawing/2014/main" id="{A180B76A-9D20-4D79-89C2-87E0E28DBEF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25" name="Tekstfelt 24">
            <a:extLst>
              <a:ext uri="{FF2B5EF4-FFF2-40B4-BE49-F238E27FC236}">
                <a16:creationId xmlns:a16="http://schemas.microsoft.com/office/drawing/2014/main" id="{7930F09B-109F-4CB4-9C80-1E2497F1F62F}"/>
              </a:ext>
            </a:extLst>
          </p:cNvPr>
          <p:cNvSpPr txBox="1"/>
          <p:nvPr userDrawn="1"/>
        </p:nvSpPr>
        <p:spPr>
          <a:xfrm>
            <a:off x="796876" y="2313596"/>
            <a:ext cx="2270147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4800">
                <a:solidFill>
                  <a:schemeClr val="tx2"/>
                </a:solidFill>
              </a:rPr>
              <a:t>Guide til PowerPoint skabelon</a:t>
            </a:r>
            <a:r>
              <a:rPr lang="da-DK" sz="4800"/>
              <a:t/>
            </a:r>
            <a:br>
              <a:rPr lang="da-DK" sz="4800"/>
            </a:br>
            <a:r>
              <a:rPr lang="da-DK" sz="4800"/>
              <a:t>Dette slide skal slettes!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2811834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795AFFCB-6759-40E6-96C5-2030F9FE2BFD}"/>
              </a:ext>
            </a:extLst>
          </p:cNvPr>
          <p:cNvGrpSpPr/>
          <p:nvPr userDrawn="1"/>
        </p:nvGrpSpPr>
        <p:grpSpPr>
          <a:xfrm>
            <a:off x="24775960" y="497279"/>
            <a:ext cx="3894290" cy="1724882"/>
            <a:chOff x="24775960" y="497279"/>
            <a:chExt cx="3894290" cy="1724882"/>
          </a:xfrm>
        </p:grpSpPr>
        <p:sp>
          <p:nvSpPr>
            <p:cNvPr id="7" name="Tekstfelt 6">
              <a:extLst>
                <a:ext uri="{FF2B5EF4-FFF2-40B4-BE49-F238E27FC236}">
                  <a16:creationId xmlns:a16="http://schemas.microsoft.com/office/drawing/2014/main" id="{1ABE3FBA-96A2-4DB0-8BDA-52F3F9937E39}"/>
                </a:ext>
              </a:extLst>
            </p:cNvPr>
            <p:cNvSpPr txBox="1"/>
            <p:nvPr userDrawn="1"/>
          </p:nvSpPr>
          <p:spPr>
            <a:xfrm>
              <a:off x="24775960" y="497279"/>
              <a:ext cx="3894290" cy="1724882"/>
            </a:xfrm>
            <a:prstGeom prst="rect">
              <a:avLst/>
            </a:prstGeom>
            <a:noFill/>
          </p:spPr>
          <p:txBody>
            <a:bodyPr wrap="square" lIns="0" tIns="0" rIns="0" bIns="108000" rtlCol="0">
              <a:spAutoFit/>
            </a:bodyPr>
            <a:lstStyle/>
            <a:p>
              <a:r>
                <a:rPr lang="da-DK" sz="1500" b="1" dirty="0"/>
                <a:t>Skift til anden forside/layout</a:t>
              </a:r>
              <a:r>
                <a:rPr lang="da-DK" sz="1500" b="0" dirty="0"/>
                <a:t> ved at klikke på                under fanen Hjem.</a:t>
              </a:r>
            </a:p>
            <a:p>
              <a:r>
                <a:rPr lang="da-DK" sz="1500" dirty="0"/>
                <a:t>Vælg derefter det ønskede layout.</a:t>
              </a:r>
            </a:p>
            <a:p>
              <a:endParaRPr lang="da-DK" sz="1500" dirty="0"/>
            </a:p>
            <a:p>
              <a:r>
                <a:rPr lang="da-DK" sz="1500" dirty="0"/>
                <a:t>Vær opmærksom på, at du skal skifte til layout af samme slags. Så du </a:t>
              </a:r>
              <a:r>
                <a:rPr lang="da-DK" sz="1500" u="sng" dirty="0"/>
                <a:t>ikke</a:t>
              </a:r>
              <a:r>
                <a:rPr lang="da-DK" sz="1500" dirty="0"/>
                <a:t> skifter fra Forside- til Indholdslayout</a:t>
              </a:r>
            </a:p>
          </p:txBody>
        </p:sp>
        <p:pic>
          <p:nvPicPr>
            <p:cNvPr id="8" name="Billede 7">
              <a:extLst>
                <a:ext uri="{FF2B5EF4-FFF2-40B4-BE49-F238E27FC236}">
                  <a16:creationId xmlns:a16="http://schemas.microsoft.com/office/drawing/2014/main" id="{B3E50368-47E8-4FB7-AC39-33DEDDE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75254" y="726572"/>
              <a:ext cx="724001" cy="238158"/>
            </a:xfrm>
            <a:prstGeom prst="rect">
              <a:avLst/>
            </a:prstGeom>
          </p:spPr>
        </p:pic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D78E6915-0752-4B27-A56B-3A2873CA9D8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6164" y="2255283"/>
            <a:ext cx="4124901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215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4606925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6877" y="10629904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80C218EF-1B38-40A8-A5D7-7A47F9D0F4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95863"/>
            <a:ext cx="2806401" cy="101593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079576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017588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00D2E8D-3A06-4986-B4AE-F4952BB038E1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7" name="Billede 6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63D57A83-2BDE-4777-A2E1-335F2CC279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0D8A90E-924A-4D4C-9CD3-870A2B49CBF6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3901422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ogo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280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022824" y="12232829"/>
            <a:ext cx="3577091" cy="187362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0526" y="11942796"/>
            <a:ext cx="2806401" cy="10159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990478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billede - logo nederst">
    <p:bg>
      <p:bgPr>
        <a:blipFill dpi="0" rotWithShape="1">
          <a:blip r:embed="rId2">
            <a:lum/>
          </a:blip>
          <a:srcRect/>
          <a:stretch>
            <a:fillRect t="-78000" b="-7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BCAD4-2551-49EE-8DE5-1D2BB09F55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6877" y="793750"/>
            <a:ext cx="17093087" cy="5121277"/>
          </a:xfrm>
        </p:spPr>
        <p:txBody>
          <a:bodyPr anchor="t" anchorCtr="0"/>
          <a:lstStyle>
            <a:lvl1pPr algn="l">
              <a:lnSpc>
                <a:spcPts val="17000"/>
              </a:lnSpc>
              <a:defRPr sz="15000" b="0">
                <a:latin typeface="+mj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2170882-3C1A-47A7-92D1-A3FADCFE5D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0100" y="6875462"/>
            <a:ext cx="17093087" cy="1584323"/>
          </a:xfrm>
        </p:spPr>
        <p:txBody>
          <a:bodyPr/>
          <a:lstStyle>
            <a:lvl1pPr marL="0" indent="0" algn="l">
              <a:lnSpc>
                <a:spcPts val="6000"/>
              </a:lnSpc>
              <a:buNone/>
              <a:defRPr sz="450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da-DK" dirty="0"/>
              <a:t>Navn </a:t>
            </a:r>
            <a:r>
              <a:rPr lang="da-DK" dirty="0" err="1"/>
              <a:t>Navnsen</a:t>
            </a:r>
            <a:endParaRPr lang="da-DK" dirty="0"/>
          </a:p>
        </p:txBody>
      </p:sp>
      <p:pic>
        <p:nvPicPr>
          <p:cNvPr id="16" name="Billede 15">
            <a:extLst>
              <a:ext uri="{FF2B5EF4-FFF2-40B4-BE49-F238E27FC236}">
                <a16:creationId xmlns:a16="http://schemas.microsoft.com/office/drawing/2014/main" id="{EFFD270C-4F72-453D-B36E-3F3C47250A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2824" y="12232800"/>
            <a:ext cx="3577091" cy="18742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A1B58FF-7007-4DB3-AB68-8ED000F0B4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999" y="12171600"/>
            <a:ext cx="8126413" cy="261937"/>
          </a:xfrm>
        </p:spPr>
        <p:txBody>
          <a:bodyPr/>
          <a:lstStyle>
            <a:lvl1pPr algn="ctr">
              <a:lnSpc>
                <a:spcPts val="2500"/>
              </a:lnSpc>
              <a:buNone/>
              <a:defRPr sz="2000" b="1"/>
            </a:lvl1pPr>
          </a:lstStyle>
          <a:p>
            <a:pPr lvl="0"/>
            <a:r>
              <a:rPr lang="da-DK" dirty="0"/>
              <a:t>Navn på institution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98F62A2-877E-42A0-A77F-3F08875515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26" y="11942763"/>
            <a:ext cx="2806401" cy="1016000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22ACE3B3-E43E-4D1A-BFE6-D937ACCA466A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pic>
        <p:nvPicPr>
          <p:cNvPr id="12" name="Billede 11" descr="Et billede, der indeholder tekst, udendørs, græs&#10;&#10;Automatisk genereret beskrivelse">
            <a:extLst>
              <a:ext uri="{FF2B5EF4-FFF2-40B4-BE49-F238E27FC236}">
                <a16:creationId xmlns:a16="http://schemas.microsoft.com/office/drawing/2014/main" id="{FF63F60D-966B-42DB-B6DF-5794887571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1033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DCCE0C3C-678F-46DB-A38D-817988CF9315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</p:spTree>
    <p:extLst>
      <p:ext uri="{BB962C8B-B14F-4D97-AF65-F5344CB8AC3E}">
        <p14:creationId xmlns:p14="http://schemas.microsoft.com/office/powerpoint/2010/main" val="26661461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31590-2D06-4E70-83A1-26C0CFC813EA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975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D67DC-3DBA-42E0-8221-83B1933C0241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F6FCE2CE-6750-4F4C-83E1-9D869A4693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519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8EDFE-35CC-43FE-B3F1-625696CC1337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90548198-64D3-4934-AFB7-B109C61C8C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512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C908-C2D6-4C45-A435-226AAA5AEC89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D17319ED-A838-4897-B801-B1117F75F2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034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B1FE-53C2-4EFC-B8DD-3FB084171860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A696696E-B5BF-48AE-A4BC-4E00C99702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746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6FCD2-AD39-4A31-AC2D-08634C2696AC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378A6749-9C30-4D44-A767-6FD3B4FC71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6" cy="2097604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D1C86FA2-BDF0-4BF0-A502-B803D8F33E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7" name="Tekstfelt 16">
            <a:extLst>
              <a:ext uri="{FF2B5EF4-FFF2-40B4-BE49-F238E27FC236}">
                <a16:creationId xmlns:a16="http://schemas.microsoft.com/office/drawing/2014/main" id="{F8CEB203-F44F-4D03-8666-9B99C060987C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0B82ACD-F4E3-43AF-9DBB-968AE5E8AD69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AD894D4C-4190-407A-BDB8-6110E4650989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32AA509C-C35E-479B-ACA6-4351D1880F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538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4B934-7416-49B1-ADC4-B7EC49493991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1586F70-0E23-40DF-8B7A-9305049B4B96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21" name="Tekstfelt 20">
              <a:extLst>
                <a:ext uri="{FF2B5EF4-FFF2-40B4-BE49-F238E27FC236}">
                  <a16:creationId xmlns:a16="http://schemas.microsoft.com/office/drawing/2014/main" id="{11109A06-0CB0-447F-AA3F-563D84CB1E8E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D1E1805-8DAB-49F9-9B9C-121ECBA082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3" name="Pil: venstre 22">
              <a:extLst>
                <a:ext uri="{FF2B5EF4-FFF2-40B4-BE49-F238E27FC236}">
                  <a16:creationId xmlns:a16="http://schemas.microsoft.com/office/drawing/2014/main" id="{250ACA79-18E0-47A4-AB53-6ABEE3813EB4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4" name="Billede 23">
              <a:extLst>
                <a:ext uri="{FF2B5EF4-FFF2-40B4-BE49-F238E27FC236}">
                  <a16:creationId xmlns:a16="http://schemas.microsoft.com/office/drawing/2014/main" id="{BF240283-2EE6-404F-9F83-0AA752A2F2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0F17AA22-BE98-45F9-BB0B-020D6B1C46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7547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2312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5673354" cy="15152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A443F-6C35-4258-8860-C1AA879F3054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12EA6A8-0F37-41E0-A07E-23BBB2DB16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75C9036D-3D8D-4C4B-B01B-6B3F9DF6E3C8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48D2410-977B-4740-936A-0134839F96B6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D26142A-D011-46E0-BD12-FEE3B33BA887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81A9613-792B-4757-9370-097FBBD8D5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25664"/>
            <a:ext cx="3722867" cy="2099590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DA73FE7-74F8-4893-B835-5F3751FC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443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4607720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C72BE-1869-4B31-8182-6DF4EAFDFBAF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4608513"/>
            <a:ext cx="702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2392BC42-9269-4426-9ECB-3E5E0056E4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016" y="0"/>
            <a:ext cx="3726811" cy="2097604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5342E342-DBC0-4BB2-B7E2-DB5F9F2CDD0C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81159F22-8874-478D-8480-489E3D8F6038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35F979DA-3524-45F5-B7F0-E3232252D5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BC9ADC-D03C-46FF-80F5-972D6A0B8EC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C1ADAEA-C8E0-4739-A29F-033BA0F3F0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6145FCEA-2DB4-4F7F-A0C5-04F929ACE3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794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87569" y="2297906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23996-4115-4C91-B797-135D8C9734D3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6578263" y="2298699"/>
            <a:ext cx="702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2457F943-C4FA-49C1-9DB6-2AA5882C0BEE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7C46D596-6F7F-484B-8D1A-1346DEFCC4D6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B8759709-61DC-4465-9E4F-9CA09B97DB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6B5EBB3C-FCEC-4F18-8E39-D5F18DD60C06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775CCAE-19AA-48A4-B1EB-EEABD91B4B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4" name="Billede 13">
            <a:extLst>
              <a:ext uri="{FF2B5EF4-FFF2-40B4-BE49-F238E27FC236}">
                <a16:creationId xmlns:a16="http://schemas.microsoft.com/office/drawing/2014/main" id="{8D54935F-BDA0-4782-BC6A-25BFF1B26A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814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22804485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D375F-2742-4E9D-8B6C-59573D9CAC68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906D793E-C384-4D46-9726-46566BC38653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FF3C875D-5ECC-4EBC-83AA-01C44C9C1621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ED3FD58-694B-43E9-986C-2DC221CC12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1A50584E-C6CC-48F0-BEEC-E562622E1FA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B14CA9AA-D5A5-4494-BD3D-F5ADB914D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6104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21E30-9522-4DC9-AED4-51EBD40045BE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4606927"/>
            <a:ext cx="5040000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E14405B2-304F-46B1-BA45-40ED1CBDC7C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CC9C1BBC-0488-409C-97AE-338AA50B8DAF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2A155BE4-98DD-4D9D-85F5-BD0FB850A6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F3633547-A53B-4811-BBC7-09385327AC12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43F220BD-7DB5-464A-B705-7F7C1DBDD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6" name="Billede 15">
            <a:extLst>
              <a:ext uri="{FF2B5EF4-FFF2-40B4-BE49-F238E27FC236}">
                <a16:creationId xmlns:a16="http://schemas.microsoft.com/office/drawing/2014/main" id="{80AFA211-6370-4B33-B64F-8758194251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6899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5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19239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169DF-20BB-4C35-9102-66CEB9A2AA6A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BAB0B789-D2C7-48EB-A9A6-7D4C657875F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641603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CC89AC54-59DD-4F63-8FB7-D51EE5E278B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563967" y="2297113"/>
            <a:ext cx="5040000" cy="10660064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2D13779-965F-41C8-9A44-01B319BF7344}"/>
              </a:ext>
            </a:extLst>
          </p:cNvPr>
          <p:cNvGrpSpPr/>
          <p:nvPr userDrawn="1"/>
        </p:nvGrpSpPr>
        <p:grpSpPr>
          <a:xfrm>
            <a:off x="24464211" y="2570647"/>
            <a:ext cx="4206040" cy="3934177"/>
            <a:chOff x="24464211" y="4871401"/>
            <a:chExt cx="4206040" cy="3934177"/>
          </a:xfrm>
        </p:grpSpPr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294839CA-8464-4363-93F2-5AEBAA817E9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9" name="Billede 18">
              <a:extLst>
                <a:ext uri="{FF2B5EF4-FFF2-40B4-BE49-F238E27FC236}">
                  <a16:creationId xmlns:a16="http://schemas.microsoft.com/office/drawing/2014/main" id="{732C92A9-A0E8-4846-A587-766FBA2A3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0" name="Pil: venstre 19">
              <a:extLst>
                <a:ext uri="{FF2B5EF4-FFF2-40B4-BE49-F238E27FC236}">
                  <a16:creationId xmlns:a16="http://schemas.microsoft.com/office/drawing/2014/main" id="{796FC19C-15C8-4476-AD7F-72F4CFC6EE88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B145C0-786B-400D-83C3-0814D72F48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  <p:pic>
        <p:nvPicPr>
          <p:cNvPr id="15" name="Billede 14">
            <a:extLst>
              <a:ext uri="{FF2B5EF4-FFF2-40B4-BE49-F238E27FC236}">
                <a16:creationId xmlns:a16="http://schemas.microsoft.com/office/drawing/2014/main" id="{37E89AA1-BEA4-4510-AC81-2B48620181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58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5DD2AC21-D97A-4567-8670-DCB7EFEB9F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5" y="0"/>
            <a:ext cx="17159288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F1CCC-A514-45A1-8AC3-02ACE7CFCBD8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3D185C5-140A-40BC-93EF-FA41E6326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277F1664-B331-468D-AE97-FBC22880BD3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DE92C2E-3AA5-42A1-AE74-FA9E1407D0B5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F768F512-0634-44E8-B3CD-1207DC04665C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6" name="Billede 15" descr="Et billede, der indeholder tekst, person&#10;&#10;Automatisk genereret beskrivelse">
            <a:extLst>
              <a:ext uri="{FF2B5EF4-FFF2-40B4-BE49-F238E27FC236}">
                <a16:creationId xmlns:a16="http://schemas.microsoft.com/office/drawing/2014/main" id="{AC9C6689-0BDA-497E-BC94-6046240973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9" y="-24907"/>
            <a:ext cx="3726675" cy="209958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A9218E0A-0F18-4B18-89A1-561D337C1A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8985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06" y="3"/>
            <a:ext cx="17159758" cy="1371599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3776" y="2316956"/>
            <a:ext cx="5673354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03776" y="4606927"/>
            <a:ext cx="5673354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3FA32-DD40-4591-B3B6-D8A958EA786F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24CE512-BA00-4D76-A073-A0C6F6BA39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855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 -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EA366E03-86D4-4C61-891B-7D1698B2E7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050" y="0"/>
            <a:ext cx="12190413" cy="1371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indsætte billede.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HUSK at anvendelse af billeder eller video med personer på kræver samtykke fra de pågældende personer.</a:t>
            </a:r>
          </a:p>
          <a:p>
            <a:r>
              <a:rPr lang="da-DK" dirty="0"/>
              <a:t>Få samtykkeerklæring i Kommunikation eller hent den på </a:t>
            </a:r>
            <a:r>
              <a:rPr lang="da-DK" dirty="0" err="1"/>
              <a:t>intra</a:t>
            </a:r>
            <a:r>
              <a:rPr lang="da-DK" dirty="0"/>
              <a:t> under Kommunikatio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DE2F54-32EA-4F16-ACBF-05F6E0D6D584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8AA1B79-AE48-459B-A523-48161019C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2221706"/>
            <a:ext cx="438211" cy="771633"/>
          </a:xfrm>
          <a:prstGeom prst="rect">
            <a:avLst/>
          </a:prstGeom>
        </p:spPr>
      </p:pic>
      <p:sp>
        <p:nvSpPr>
          <p:cNvPr id="12" name="Tekstfelt 11">
            <a:extLst>
              <a:ext uri="{FF2B5EF4-FFF2-40B4-BE49-F238E27FC236}">
                <a16:creationId xmlns:a16="http://schemas.microsoft.com/office/drawing/2014/main" id="{901AFEED-D9AB-4232-888C-AC08BDD93FE9}"/>
              </a:ext>
            </a:extLst>
          </p:cNvPr>
          <p:cNvSpPr txBox="1"/>
          <p:nvPr userDrawn="1"/>
        </p:nvSpPr>
        <p:spPr>
          <a:xfrm>
            <a:off x="25214172" y="2221705"/>
            <a:ext cx="3722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500" b="1" dirty="0"/>
              <a:t>Du kan ændre beskæring af billede</a:t>
            </a:r>
            <a:r>
              <a:rPr lang="da-DK" sz="1500" b="0" dirty="0"/>
              <a:t> på følgende måde.</a:t>
            </a:r>
          </a:p>
          <a:p>
            <a:r>
              <a:rPr lang="da-DK" sz="1500" b="0" dirty="0"/>
              <a:t>Højreklik på billedet og vælg Beskær (øverst).</a:t>
            </a:r>
            <a:br>
              <a:rPr lang="da-DK" sz="1500" b="0" dirty="0"/>
            </a:br>
            <a:r>
              <a:rPr lang="da-DK" sz="1500" b="0" dirty="0"/>
              <a:t>Derefter kan du trække i billedet så du ser den ønskede del.</a:t>
            </a:r>
            <a:endParaRPr lang="da-DK" sz="150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E0A4EBD-F2D3-45FC-A76C-7549847CDC74}"/>
              </a:ext>
            </a:extLst>
          </p:cNvPr>
          <p:cNvSpPr txBox="1"/>
          <p:nvPr userDrawn="1"/>
        </p:nvSpPr>
        <p:spPr>
          <a:xfrm>
            <a:off x="24775960" y="39440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12277281-1944-48D1-BFB7-187B228116F8}"/>
              </a:ext>
            </a:extLst>
          </p:cNvPr>
          <p:cNvSpPr txBox="1"/>
          <p:nvPr userDrawn="1"/>
        </p:nvSpPr>
        <p:spPr>
          <a:xfrm>
            <a:off x="24775960" y="5712320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Webtilgængelighed:</a:t>
            </a:r>
            <a:r>
              <a:rPr lang="da-DK" sz="1500" b="0" dirty="0"/>
              <a:t> Husk at give dit billede en Alternativ tekst, som bruges af synshandicappede til ”oplæsning” af billede.</a:t>
            </a:r>
          </a:p>
          <a:p>
            <a:r>
              <a:rPr lang="da-DK" sz="1500" b="0" dirty="0"/>
              <a:t>Højreklik på billede og angiv Alternativ tekst.</a:t>
            </a:r>
          </a:p>
          <a:p>
            <a:endParaRPr lang="da-DK" sz="1500" b="0" dirty="0"/>
          </a:p>
        </p:txBody>
      </p:sp>
      <p:pic>
        <p:nvPicPr>
          <p:cNvPr id="15" name="Billede 14" descr="Et billede, der indeholder tekst, indendørs, skærmbillede&#10;&#10;Automatisk genereret beskrivelse">
            <a:extLst>
              <a:ext uri="{FF2B5EF4-FFF2-40B4-BE49-F238E27FC236}">
                <a16:creationId xmlns:a16="http://schemas.microsoft.com/office/drawing/2014/main" id="{24D27755-E1C0-40AE-A24C-D65B92D152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58" y="21982"/>
            <a:ext cx="3726675" cy="2093637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4E2E9971-1324-41E8-A786-D209C4CC66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7666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0413" cy="1371600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0776" y="2316956"/>
            <a:ext cx="10642649" cy="1515272"/>
          </a:xfrm>
        </p:spPr>
        <p:txBody>
          <a:bodyPr/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0778" y="4606925"/>
            <a:ext cx="10642647" cy="8350250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08A9C-EF29-4AA7-9650-7D9A2EBFD5E9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F6F7EC8-BCF1-4BD8-907F-3D0ED67500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6441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Bille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C8CFF-DE12-47BC-806F-04F7762A5BF5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F870565-C1FD-42CA-B356-8CEE2FAE8C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652D816A-0D09-49EF-B4AE-936CA1C6689C}"/>
              </a:ext>
            </a:extLst>
          </p:cNvPr>
          <p:cNvSpPr txBox="1"/>
          <p:nvPr userDrawn="1"/>
        </p:nvSpPr>
        <p:spPr>
          <a:xfrm>
            <a:off x="24775961" y="2334118"/>
            <a:ext cx="3894290" cy="17440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Udskift baggrundsbilledet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, under ”Indsæt billede fra”,  klikker du på ”Fil…”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t ønskede billed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838F9B4-2129-4AA7-8102-16F1BB636A41}"/>
              </a:ext>
            </a:extLst>
          </p:cNvPr>
          <p:cNvSpPr txBox="1"/>
          <p:nvPr userDrawn="1"/>
        </p:nvSpPr>
        <p:spPr>
          <a:xfrm>
            <a:off x="24775960" y="4401293"/>
            <a:ext cx="4092953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500" b="1" dirty="0"/>
              <a:t>Anvendelse af billeder eller video</a:t>
            </a:r>
            <a:r>
              <a:rPr lang="da-DK" sz="1500" b="0" dirty="0"/>
              <a:t> med personer på kræver samtykke fra de pågældende personer.</a:t>
            </a:r>
          </a:p>
          <a:p>
            <a:r>
              <a:rPr lang="da-DK" sz="1500" b="1" dirty="0"/>
              <a:t>Få samtykkeerklæring</a:t>
            </a:r>
            <a:r>
              <a:rPr lang="da-DK" sz="1500" b="0" dirty="0"/>
              <a:t> i Kommunikation eller hent den på </a:t>
            </a:r>
            <a:r>
              <a:rPr lang="da-DK" sz="1500" b="0" dirty="0" err="1"/>
              <a:t>intra</a:t>
            </a:r>
            <a:r>
              <a:rPr lang="da-DK" sz="1500" b="0" dirty="0"/>
              <a:t> under Kommunikation.</a:t>
            </a:r>
          </a:p>
          <a:p>
            <a:endParaRPr lang="da-DK" sz="1500" b="0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D77B15B4-4E93-4969-8E52-FD1E04248D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0612" y="5538"/>
            <a:ext cx="3722021" cy="2093637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6DFD37EF-98A6-4939-9215-41A3F85A4B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434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_Hvid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297113"/>
            <a:ext cx="22823537" cy="4560887"/>
          </a:xfrm>
        </p:spPr>
        <p:txBody>
          <a:bodyPr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SKRIV EMN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1218BD6-518C-4E16-8F9B-883569893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B9C01-2BBE-442C-95EF-635EEA778D28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9D7236A-5F80-4740-BD10-82F136BA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27B0E9C-1DE5-4337-9974-7FDC30E5B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7600" y="7920000"/>
            <a:ext cx="17659350" cy="2520000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4DFED71C-9425-49C3-A36A-CE838B1B1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A063DB80-7AC2-4E9E-9768-1CF1E52EE530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43AFCEE5-AE1D-4119-BB4F-C2E4D79255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D6C0182D-3DB4-4378-9EE7-09ADAAF5E6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89CEF612-5267-4898-BD96-3AB81BAF3C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8084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1C24E-45D4-4A63-8F0A-0F896808B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2A93B06-4C0A-4DB6-982A-BABDCAB0E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87D16-FFA2-40EF-8389-B5496B393A54}" type="datetime1">
              <a:rPr lang="da-DK" smtClean="0"/>
              <a:t>05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7248878-C20B-4286-822C-D78C4238A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02E00CF-D9C5-4DB3-84B4-4EFCEEDE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 descr="Et billede, der indeholder bord&#10;&#10;Automatisk genereret beskrivelse">
            <a:extLst>
              <a:ext uri="{FF2B5EF4-FFF2-40B4-BE49-F238E27FC236}">
                <a16:creationId xmlns:a16="http://schemas.microsoft.com/office/drawing/2014/main" id="{7895239D-2C2B-4862-8ABB-4370C582FA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D229F162-FAE4-4991-9018-8B83C4D3264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CDD56BE-3B1A-4D93-A5A5-4CA330C02B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1530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84D1A66-6420-4F6C-B9CC-4ED80FC7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7ED8B3-C7A5-4952-8725-A7902683EF71}" type="datetime1">
              <a:rPr lang="da-DK" smtClean="0"/>
              <a:t>05-02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75EC9E4-350D-4404-A77C-071BE768E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1C7C959-7509-488A-97B0-520A8EB0A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Billede 5" descr="Et billede, der indeholder bord&#10;&#10;Automatisk genereret beskrivelse">
            <a:extLst>
              <a:ext uri="{FF2B5EF4-FFF2-40B4-BE49-F238E27FC236}">
                <a16:creationId xmlns:a16="http://schemas.microsoft.com/office/drawing/2014/main" id="{FAE7EC09-4572-43B1-AE32-1B730AEC0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0" y="0"/>
            <a:ext cx="3722022" cy="2086192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BF701AD2-E04F-4DB5-A42E-BCA54F82A6F4}"/>
              </a:ext>
            </a:extLst>
          </p:cNvPr>
          <p:cNvSpPr txBox="1"/>
          <p:nvPr userDrawn="1"/>
        </p:nvSpPr>
        <p:spPr>
          <a:xfrm>
            <a:off x="24775960" y="2355578"/>
            <a:ext cx="3894290" cy="126321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Placer indholdet korrekt</a:t>
            </a:r>
            <a:r>
              <a:rPr lang="da-DK" sz="1500" b="0" dirty="0"/>
              <a:t> ved at vælge Vis og derunder Hjælpelinjer.</a:t>
            </a:r>
            <a:br>
              <a:rPr lang="da-DK" sz="1500" b="0" dirty="0"/>
            </a:br>
            <a:r>
              <a:rPr lang="da-DK" sz="1500" b="0" dirty="0"/>
              <a:t>Med disse røde linjer kan du sikre at du følger linjerne som er på de øvrige layouts.</a:t>
            </a:r>
            <a:endParaRPr lang="da-DK" sz="1500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710EA03-45EF-4F26-A6D6-DF90961F64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42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7" y="4606927"/>
            <a:ext cx="11051452" cy="83502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6E3A9-DEE0-40B6-B0F0-6B2EB21C85F6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27E7E58-FB75-41BD-B5A3-566BE2E90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grpSp>
        <p:nvGrpSpPr>
          <p:cNvPr id="16" name="Gruppe 15">
            <a:extLst>
              <a:ext uri="{FF2B5EF4-FFF2-40B4-BE49-F238E27FC236}">
                <a16:creationId xmlns:a16="http://schemas.microsoft.com/office/drawing/2014/main" id="{E5E16948-0ACC-44D4-BB04-D707FA1512B5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F69C76C2-F1FC-4EDB-B256-D76B69962CB2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F1E43EAD-34F7-4627-BCA4-7F2A0E5ED7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19" name="Pil: venstre 18">
              <a:extLst>
                <a:ext uri="{FF2B5EF4-FFF2-40B4-BE49-F238E27FC236}">
                  <a16:creationId xmlns:a16="http://schemas.microsoft.com/office/drawing/2014/main" id="{DFD1059F-0C2C-4E9F-A9AB-EA26359D4B8D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6EF02837-8C2D-4055-AC2D-F74CC02295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7420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_Sort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210F366-89A7-4A8B-898E-E1FEB2AC2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89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0210F366-89A7-4A8B-898E-E1FEB2AC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52390-17DF-49B6-8577-D22CBE6C86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826" y="2355578"/>
            <a:ext cx="22823537" cy="2208537"/>
          </a:xfrm>
        </p:spPr>
        <p:txBody>
          <a:bodyPr vert="horz" anchor="b"/>
          <a:lstStyle>
            <a:lvl1pPr algn="ctr">
              <a:lnSpc>
                <a:spcPts val="17000"/>
              </a:lnSpc>
              <a:defRPr sz="15000"/>
            </a:lvl1pPr>
          </a:lstStyle>
          <a:p>
            <a:r>
              <a:rPr lang="da-DK" dirty="0"/>
              <a:t>Afslutning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41124DB-31B7-4A87-9EE8-7E8EFCD8AD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0847" y="5264727"/>
            <a:ext cx="17659350" cy="2208537"/>
          </a:xfrm>
        </p:spPr>
        <p:txBody>
          <a:bodyPr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 dirty="0"/>
              <a:t>Skriv evt. en sætning, vigtigste pointe eller citat, der beskriver dit oplæg. </a:t>
            </a:r>
            <a:br>
              <a:rPr lang="da-DK" dirty="0"/>
            </a:br>
            <a:r>
              <a:rPr lang="da-DK" dirty="0"/>
              <a:t>Eller engagér deltagerne med en opfordring til efterfølgende handling:</a:t>
            </a:r>
            <a:br>
              <a:rPr lang="da-DK" dirty="0"/>
            </a:br>
            <a:r>
              <a:rPr lang="da-DK" dirty="0"/>
              <a:t>Kontakt mig… Meld dig til…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3254391F-9822-4362-9AD4-8E9E38D7285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" y="10660579"/>
            <a:ext cx="24382413" cy="3055421"/>
          </a:xfrm>
          <a:prstGeom prst="rect">
            <a:avLst/>
          </a:prstGeom>
        </p:spPr>
      </p:pic>
      <p:sp>
        <p:nvSpPr>
          <p:cNvPr id="19" name="Pladsholder til tekst 22">
            <a:extLst>
              <a:ext uri="{FF2B5EF4-FFF2-40B4-BE49-F238E27FC236}">
                <a16:creationId xmlns:a16="http://schemas.microsoft.com/office/drawing/2014/main" id="{7318CF8B-6AB4-4D92-9C19-80BA2EBCE9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35679" y="7978768"/>
            <a:ext cx="5703887" cy="2376488"/>
          </a:xfrm>
        </p:spPr>
        <p:txBody>
          <a:bodyPr/>
          <a:lstStyle>
            <a:lvl1pPr marL="0" indent="0">
              <a:lnSpc>
                <a:spcPts val="3700"/>
              </a:lnSpc>
              <a:spcBef>
                <a:spcPts val="0"/>
              </a:spcBef>
              <a:buNone/>
              <a:defRPr sz="3000"/>
            </a:lvl1pPr>
            <a:lvl2pPr marL="548640" indent="0">
              <a:buNone/>
              <a:defRPr/>
            </a:lvl2pPr>
            <a:lvl3pPr marL="1097280" indent="0">
              <a:buNone/>
              <a:defRPr/>
            </a:lvl3pPr>
            <a:lvl4pPr marL="1645920" indent="0">
              <a:buNone/>
              <a:defRPr/>
            </a:lvl4pPr>
            <a:lvl5pPr marL="2194560" indent="0">
              <a:buNone/>
              <a:defRPr/>
            </a:lvl5pPr>
          </a:lstStyle>
          <a:p>
            <a:pPr lvl="0"/>
            <a:r>
              <a:rPr lang="da-DK" dirty="0"/>
              <a:t>Kontaktinformation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3BA55DDA-518D-4BB4-AD89-2AD9E797AE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876" y="778958"/>
            <a:ext cx="2104800" cy="761950"/>
          </a:xfrm>
          <a:prstGeom prst="rect">
            <a:avLst/>
          </a:prstGeom>
        </p:spPr>
      </p:pic>
      <p:sp>
        <p:nvSpPr>
          <p:cNvPr id="15" name="Tekstfelt 14">
            <a:extLst>
              <a:ext uri="{FF2B5EF4-FFF2-40B4-BE49-F238E27FC236}">
                <a16:creationId xmlns:a16="http://schemas.microsoft.com/office/drawing/2014/main" id="{B7D70AA6-C4B5-46F3-BD77-8FFA2C706588}"/>
              </a:ext>
            </a:extLst>
          </p:cNvPr>
          <p:cNvSpPr txBox="1"/>
          <p:nvPr userDrawn="1"/>
        </p:nvSpPr>
        <p:spPr>
          <a:xfrm>
            <a:off x="24775960" y="54826"/>
            <a:ext cx="3894290" cy="2507147"/>
          </a:xfrm>
          <a:prstGeom prst="rect">
            <a:avLst/>
          </a:prstGeom>
          <a:noFill/>
        </p:spPr>
        <p:txBody>
          <a:bodyPr wrap="square" lIns="0" tIns="0" rIns="0" bIns="108000" rtlCol="0">
            <a:spAutoFit/>
          </a:bodyPr>
          <a:lstStyle/>
          <a:p>
            <a:r>
              <a:rPr lang="da-DK" sz="1500" b="1" dirty="0"/>
              <a:t>Ændre baggrundsfarve</a:t>
            </a:r>
            <a:r>
              <a:rPr lang="da-DK" sz="1500" dirty="0"/>
              <a:t> på følgende måde: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Højreklik og vælg ”Formater baggrund”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I panelet til højre kliker du på 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da-DK" sz="1500" dirty="0"/>
              <a:t>Vælg derefter den ønskede farve.</a:t>
            </a:r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  <a:p>
            <a:pPr marL="171450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da-DK" sz="1500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BF6491D7-E780-48F9-BA66-16167767117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420" y="981086"/>
            <a:ext cx="485843" cy="30484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17A2B27-54DA-4CF1-9822-A5A9B39274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9"/>
          <a:stretch/>
        </p:blipFill>
        <p:spPr>
          <a:xfrm>
            <a:off x="24983604" y="1598609"/>
            <a:ext cx="1613615" cy="40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328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2659" y="4619627"/>
            <a:ext cx="1635970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42E59-8D6B-4640-A8BC-5AC3C3206757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A3F041A-8573-42B6-BE1A-0F21FF8B37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0"/>
            <a:ext cx="3722868" cy="2097022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0C3098FE-83BB-4F44-963C-2CC0B47E2DE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6F931CF-1465-4A1A-911D-06D8A58B517B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D1AD1AA5-DF20-4B9D-ABAA-AAEBD5172D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D4ECCE73-C931-4CB7-A632-9ED21EA17397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FA7F5E68-5B2E-4645-95F7-F37D0B5E4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1421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BA632-F6D4-42BA-97F1-210F151B0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55A9A3E-2925-4634-A316-D5B5DF01A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911666" y="4606927"/>
            <a:ext cx="5673354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300F916-B102-4540-BB9C-7F2ABAD16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87358" y="4619627"/>
            <a:ext cx="1635970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0D4DF21-BD7E-4F6D-9CEF-22E28381C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40D76-09C8-4C40-AD76-785C74E4544D}" type="datetime1">
              <a:rPr lang="da-DK" smtClean="0"/>
              <a:t>05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8F0C204-AA17-4917-BCD3-D41BCEB03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671319E-0F4F-4DC4-B383-82D046BBC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0837FE4-9CBB-489D-A246-FD1853433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854C84C9-7FC1-4CEE-8C55-9E53470C49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4182"/>
            <a:ext cx="3722868" cy="2092840"/>
          </a:xfrm>
          <a:prstGeom prst="rect">
            <a:avLst/>
          </a:prstGeom>
        </p:spPr>
      </p:pic>
      <p:grpSp>
        <p:nvGrpSpPr>
          <p:cNvPr id="18" name="Gruppe 17">
            <a:extLst>
              <a:ext uri="{FF2B5EF4-FFF2-40B4-BE49-F238E27FC236}">
                <a16:creationId xmlns:a16="http://schemas.microsoft.com/office/drawing/2014/main" id="{B67C4792-DA83-4956-8D6E-10FBDFB2F4D9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19" name="Tekstfelt 18">
              <a:extLst>
                <a:ext uri="{FF2B5EF4-FFF2-40B4-BE49-F238E27FC236}">
                  <a16:creationId xmlns:a16="http://schemas.microsoft.com/office/drawing/2014/main" id="{993C2496-AE34-406F-BE71-F257E99E7B07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FEB93990-5786-4087-8591-D6B043DA6D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1" name="Pil: venstre 20">
              <a:extLst>
                <a:ext uri="{FF2B5EF4-FFF2-40B4-BE49-F238E27FC236}">
                  <a16:creationId xmlns:a16="http://schemas.microsoft.com/office/drawing/2014/main" id="{0A040E40-C6A6-4D4F-AAE8-C86EFEF4BC2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74DBED6D-441D-4AB7-A78F-69DEB4D6A7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2621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4DA120B1-7F28-45BA-9632-7605BC9076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91999" y="0"/>
            <a:ext cx="12190413" cy="1371600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40C70-29E9-4770-AC9F-0D4F6BFC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10642649" cy="15152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9DCD2-5BCD-40AB-B10C-8B6EA60CB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878" y="4606925"/>
            <a:ext cx="10642647" cy="8350250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B679288-C62C-4ACC-BDB5-2B320A2C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BBF36-2168-4120-98DD-52B26617AE13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E27D1FF-D1F0-477D-B630-E8022ADB6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930CB53-DC24-4370-A33E-AF9BC03A6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684065C1-A11B-4A8D-9014-0F655605E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76" y="778933"/>
            <a:ext cx="2104800" cy="762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D71F76E0-C780-44A8-A568-00A500351D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5961" y="3491"/>
            <a:ext cx="3722867" cy="2094113"/>
          </a:xfrm>
          <a:prstGeom prst="rect">
            <a:avLst/>
          </a:prstGeom>
        </p:spPr>
      </p:pic>
      <p:grpSp>
        <p:nvGrpSpPr>
          <p:cNvPr id="19" name="Gruppe 18">
            <a:extLst>
              <a:ext uri="{FF2B5EF4-FFF2-40B4-BE49-F238E27FC236}">
                <a16:creationId xmlns:a16="http://schemas.microsoft.com/office/drawing/2014/main" id="{87E29541-C60E-4C41-B630-3AB1862F11F2}"/>
              </a:ext>
            </a:extLst>
          </p:cNvPr>
          <p:cNvGrpSpPr/>
          <p:nvPr userDrawn="1"/>
        </p:nvGrpSpPr>
        <p:grpSpPr>
          <a:xfrm>
            <a:off x="24464211" y="4871401"/>
            <a:ext cx="4206040" cy="3934177"/>
            <a:chOff x="24464211" y="4871401"/>
            <a:chExt cx="4206040" cy="3934177"/>
          </a:xfrm>
        </p:grpSpPr>
        <p:sp>
          <p:nvSpPr>
            <p:cNvPr id="20" name="Tekstfelt 19">
              <a:extLst>
                <a:ext uri="{FF2B5EF4-FFF2-40B4-BE49-F238E27FC236}">
                  <a16:creationId xmlns:a16="http://schemas.microsoft.com/office/drawing/2014/main" id="{E9998ABC-B5AC-48ED-98B0-080558646093}"/>
                </a:ext>
              </a:extLst>
            </p:cNvPr>
            <p:cNvSpPr txBox="1"/>
            <p:nvPr userDrawn="1"/>
          </p:nvSpPr>
          <p:spPr>
            <a:xfrm>
              <a:off x="24775961" y="4881427"/>
              <a:ext cx="3894290" cy="39241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500" b="1" dirty="0"/>
                <a:t>Vælg selv indhold</a:t>
              </a:r>
              <a:r>
                <a:rPr lang="da-DK" sz="1500" dirty="0"/>
                <a:t> i dette område, fx tekst, tabel, diagram, </a:t>
              </a:r>
              <a:r>
                <a:rPr lang="da-DK" sz="1500" dirty="0" err="1"/>
                <a:t>SmartArt</a:t>
              </a:r>
              <a:r>
                <a:rPr lang="da-DK" sz="1500" dirty="0"/>
                <a:t> eller billede. Klik på det ønskede ikon eller skriv din tekst.</a:t>
              </a:r>
            </a:p>
            <a:p>
              <a:endParaRPr lang="da-DK" sz="1500" dirty="0"/>
            </a:p>
            <a:p>
              <a:r>
                <a:rPr lang="da-DK" sz="1500" b="1" dirty="0"/>
                <a:t>Fjern evt. punkttegn </a:t>
              </a:r>
              <a:r>
                <a:rPr lang="da-DK" sz="1500" dirty="0"/>
                <a:t>ved at klik på</a:t>
              </a:r>
            </a:p>
            <a:p>
              <a:endParaRPr lang="da-DK" sz="1500" dirty="0"/>
            </a:p>
            <a:p>
              <a:r>
                <a:rPr lang="da-DK" sz="1500" b="1" dirty="0"/>
                <a:t>Webtilgængelighed:</a:t>
              </a:r>
              <a:r>
                <a:rPr lang="da-DK" sz="1500" dirty="0"/>
                <a:t> Husk at give dit diagram, illustration eller billede en Alternativ tekst, som bruges af synshandicappede til ”oplæsning”.</a:t>
              </a:r>
            </a:p>
            <a:p>
              <a:r>
                <a:rPr lang="da-DK" sz="1500" dirty="0"/>
                <a:t>Højreklik på indholdsboksen og angiv Alternativ tekst.</a:t>
              </a:r>
            </a:p>
            <a:p>
              <a:endParaRPr lang="da-DK" sz="1500" dirty="0"/>
            </a:p>
            <a:p>
              <a:r>
                <a:rPr lang="da-DK" sz="1500" b="1" dirty="0"/>
                <a:t>Skift evt. opstilling/layout</a:t>
              </a:r>
              <a:r>
                <a:rPr lang="da-DK" sz="1500" b="0" dirty="0"/>
                <a:t> ved at klikke på </a:t>
              </a:r>
            </a:p>
            <a:p>
              <a:r>
                <a:rPr lang="da-DK" sz="1500" dirty="0"/>
                <a:t>Vælg derefter det ønskede layout.</a:t>
              </a:r>
            </a:p>
          </p:txBody>
        </p:sp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1867AE13-3FB0-4F56-8370-AFA52218AC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3425" y="8319101"/>
              <a:ext cx="724001" cy="238158"/>
            </a:xfrm>
            <a:prstGeom prst="rect">
              <a:avLst/>
            </a:prstGeom>
          </p:spPr>
        </p:pic>
        <p:sp>
          <p:nvSpPr>
            <p:cNvPr id="22" name="Pil: venstre 21">
              <a:extLst>
                <a:ext uri="{FF2B5EF4-FFF2-40B4-BE49-F238E27FC236}">
                  <a16:creationId xmlns:a16="http://schemas.microsoft.com/office/drawing/2014/main" id="{C70FE9AE-B0A9-458E-AD34-C91576221CA0}"/>
                </a:ext>
              </a:extLst>
            </p:cNvPr>
            <p:cNvSpPr/>
            <p:nvPr userDrawn="1"/>
          </p:nvSpPr>
          <p:spPr>
            <a:xfrm>
              <a:off x="24464211" y="4871401"/>
              <a:ext cx="239561" cy="26958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8E29D433-BDA4-42B4-A752-36744128E3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45789" y="6009211"/>
              <a:ext cx="276264" cy="257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6312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oleObject" Target="../embeddings/oleObject8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vmlDrawing" Target="../drawings/vmlDrawing8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94140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39" imgW="378" imgH="379" progId="TCLayout.ActiveDocument.1">
                  <p:embed/>
                </p:oleObj>
              </mc:Choice>
              <mc:Fallback>
                <p:oleObj name="think-cell Slide" r:id="rId39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D62CBC-DFE8-4D4E-9D8E-ED467FAC26E3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Anbefaling 1) God brug af digitale platforme</a:t>
            </a:r>
            <a:endParaRPr lang="da-DK" sz="1600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92276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6" r:id="rId3"/>
    <p:sldLayoutId id="2147483667" r:id="rId4"/>
    <p:sldLayoutId id="2147483650" r:id="rId5"/>
    <p:sldLayoutId id="2147483652" r:id="rId6"/>
    <p:sldLayoutId id="2147483661" r:id="rId7"/>
    <p:sldLayoutId id="2147483686" r:id="rId8"/>
    <p:sldLayoutId id="2147483668" r:id="rId9"/>
    <p:sldLayoutId id="2147483664" r:id="rId10"/>
    <p:sldLayoutId id="2147483660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8" r:id="rId19"/>
    <p:sldLayoutId id="2147483677" r:id="rId20"/>
    <p:sldLayoutId id="2147483679" r:id="rId21"/>
    <p:sldLayoutId id="2147483680" r:id="rId22"/>
    <p:sldLayoutId id="2147483683" r:id="rId23"/>
    <p:sldLayoutId id="2147483681" r:id="rId24"/>
    <p:sldLayoutId id="2147483682" r:id="rId25"/>
    <p:sldLayoutId id="2147483684" r:id="rId26"/>
    <p:sldLayoutId id="2147483685" r:id="rId27"/>
    <p:sldLayoutId id="2147483654" r:id="rId28"/>
    <p:sldLayoutId id="2147483655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729" r:id="rId3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EE33E8E-8C86-443D-8778-D145EB154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46690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29" imgW="378" imgH="379" progId="TCLayout.ActiveDocument.1">
                  <p:embed/>
                </p:oleObj>
              </mc:Choice>
              <mc:Fallback>
                <p:oleObj name="think-cell Slide" r:id="rId29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EE33E8E-8C86-443D-8778-D145EB154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B752735-BD1D-45E3-830D-1AD36E282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876" y="2316956"/>
            <a:ext cx="22785492" cy="15152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E5F33F4-9956-4E6C-932C-61A319B9F0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410" y="4625910"/>
            <a:ext cx="22804542" cy="760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325A58E-9719-4A73-824F-6E5DCF11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7826" y="13716002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094164-74CF-4BF6-AADA-A9973CC4AE47}" type="datetime1">
              <a:rPr lang="da-DK" smtClean="0"/>
              <a:t>05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ECF4FA7-EB68-4358-969B-9A0A52E66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47260" y="1034404"/>
            <a:ext cx="4873306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Anbefaling 1) God brug af digitale platforme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0632E8B-3B65-473C-8EFE-6D2BD8D9A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122010" y="1034401"/>
            <a:ext cx="479969" cy="3214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86514068-1FDC-406F-8DC9-A3ED74E5E15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00187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22" r:id="rId23"/>
    <p:sldLayoutId id="2147483723" r:id="rId24"/>
    <p:sldLayoutId id="2147483724" r:id="rId25"/>
  </p:sldLayoutIdLst>
  <p:hf hdr="0" dt="0"/>
  <p:txStyles>
    <p:titleStyle>
      <a:lvl1pPr algn="l" defTabSz="1097280" rtl="0" eaLnBrk="1" latinLnBrk="0" hangingPunct="1">
        <a:lnSpc>
          <a:spcPct val="100000"/>
        </a:lnSpc>
        <a:spcBef>
          <a:spcPct val="0"/>
        </a:spcBef>
        <a:buNone/>
        <a:defRPr sz="5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3000" kern="1200">
          <a:solidFill>
            <a:schemeClr val="bg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206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pos="4550" userDrawn="1">
          <p15:clr>
            <a:srgbClr val="F26B43"/>
          </p15:clr>
        </p15:guide>
        <p15:guide id="5" pos="4076" userDrawn="1">
          <p15:clr>
            <a:srgbClr val="F26B43"/>
          </p15:clr>
        </p15:guide>
        <p15:guide id="6" pos="492" userDrawn="1">
          <p15:clr>
            <a:srgbClr val="F26B43"/>
          </p15:clr>
        </p15:guide>
        <p15:guide id="7" pos="8149" userDrawn="1">
          <p15:clr>
            <a:srgbClr val="F26B43"/>
          </p15:clr>
        </p15:guide>
        <p15:guide id="8" pos="11269" userDrawn="1">
          <p15:clr>
            <a:srgbClr val="F26B43"/>
          </p15:clr>
        </p15:guide>
        <p15:guide id="9" pos="10803" userDrawn="1">
          <p15:clr>
            <a:srgbClr val="F26B43"/>
          </p15:clr>
        </p15:guide>
        <p15:guide id="10" pos="14867" userDrawn="1">
          <p15:clr>
            <a:srgbClr val="F26B43"/>
          </p15:clr>
        </p15:guide>
        <p15:guide id="11" orient="horz" pos="490" userDrawn="1">
          <p15:clr>
            <a:srgbClr val="F26B43"/>
          </p15:clr>
        </p15:guide>
        <p15:guide id="12" orient="horz" pos="1447" userDrawn="1">
          <p15:clr>
            <a:srgbClr val="F26B43"/>
          </p15:clr>
        </p15:guide>
        <p15:guide id="13" orient="horz" pos="1923" userDrawn="1">
          <p15:clr>
            <a:srgbClr val="F26B43"/>
          </p15:clr>
        </p15:guide>
        <p15:guide id="14" orient="horz" pos="2415" userDrawn="1">
          <p15:clr>
            <a:srgbClr val="F26B43"/>
          </p15:clr>
        </p15:guide>
        <p15:guide id="15" orient="horz" pos="2903" userDrawn="1">
          <p15:clr>
            <a:srgbClr val="F26B43"/>
          </p15:clr>
        </p15:guide>
        <p15:guide id="16" orient="horz" pos="7695" userDrawn="1">
          <p15:clr>
            <a:srgbClr val="F26B43"/>
          </p15:clr>
        </p15:guide>
        <p15:guide id="17" orient="horz" pos="8163" userDrawn="1">
          <p15:clr>
            <a:srgbClr val="F26B43"/>
          </p15:clr>
        </p15:guide>
        <p15:guide id="18" orient="horz" pos="6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oskilde.dk/da-dk/om-kommunen/udvikling-og-projekter/taenketank-om-fremtidens-foraeldresamarbejd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mu.dk/dagtilbud/foraeldresamarbejde/viden-og-inspiration/sammen-om-boernene" TargetMode="External"/><Relationship Id="rId2" Type="http://schemas.openxmlformats.org/officeDocument/2006/relationships/hyperlink" Target="https://emu.dk/dagtilbud/forskning-og-viden/det-paedagogiske-grundlag/foraeldresamarbejde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3.png"/><Relationship Id="rId4" Type="http://schemas.openxmlformats.org/officeDocument/2006/relationships/hyperlink" Target="https://emu.dk/grundskole/forskning-og-viden/trivsel-og-inkluderende-laeringsmiljoeer/viden-om-skole-hjem?b=t5-t24-t2331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rkintra.roskilde.dk/documents/10916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6874" y="2897868"/>
            <a:ext cx="22785492" cy="1515272"/>
          </a:xfrm>
        </p:spPr>
        <p:txBody>
          <a:bodyPr/>
          <a:lstStyle/>
          <a:p>
            <a:r>
              <a:rPr lang="da-DK" sz="6000" dirty="0" smtClean="0"/>
              <a:t>Anbefalinger til fremtidens forældresamarbejde </a:t>
            </a:r>
            <a:endParaRPr lang="da-DK" sz="6000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 dirty="0">
                <a:latin typeface="+mj-lt"/>
              </a:rPr>
              <a:t>Baggrund</a:t>
            </a:r>
          </a:p>
          <a:p>
            <a:pPr marL="0" indent="0">
              <a:buNone/>
            </a:pPr>
            <a:r>
              <a:rPr lang="da-DK" dirty="0"/>
              <a:t>Skole- og Børneudvalget nedsatte den 8. marts 2022 en tænketank for forældresamarbejde med afsæt i Børne- og Ungepolitikken. Opgaven for tænketanken var at nytænke samarbejdet mellem forældre og dagtilbud, skoler, SFO og klubber i Roskilde Kommune. </a:t>
            </a:r>
            <a:endParaRPr lang="da-DK" dirty="0" smtClean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 smtClean="0"/>
              <a:t>Arbejdet </a:t>
            </a:r>
            <a:r>
              <a:rPr lang="da-DK" dirty="0"/>
              <a:t>førte til </a:t>
            </a:r>
            <a:r>
              <a:rPr lang="da-DK" dirty="0" smtClean="0"/>
              <a:t>to </a:t>
            </a:r>
            <a:r>
              <a:rPr lang="da-DK" dirty="0"/>
              <a:t>anbefalinger som Skole- og Børneudvalget besluttede at dagtilbud, skoler, SFO og klubber </a:t>
            </a:r>
            <a:r>
              <a:rPr lang="da-DK" dirty="0" smtClean="0"/>
              <a:t>skal </a:t>
            </a:r>
            <a:r>
              <a:rPr lang="da-DK" dirty="0"/>
              <a:t>arbejde videre </a:t>
            </a:r>
            <a:r>
              <a:rPr lang="da-DK" dirty="0" smtClean="0"/>
              <a:t>med lokalt.</a:t>
            </a:r>
          </a:p>
          <a:p>
            <a:pPr marL="0" indent="0">
              <a:buNone/>
            </a:pPr>
            <a:endParaRPr lang="da-DK" dirty="0" smtClean="0">
              <a:hlinkClick r:id="rId3"/>
            </a:endParaRPr>
          </a:p>
          <a:p>
            <a:pPr marL="0" indent="0">
              <a:buNone/>
            </a:pPr>
            <a:r>
              <a:rPr lang="da-DK" dirty="0" smtClean="0">
                <a:hlinkClick r:id="rId3"/>
              </a:rPr>
              <a:t>Læs </a:t>
            </a:r>
            <a:r>
              <a:rPr lang="da-DK" dirty="0">
                <a:hlinkClick r:id="rId3"/>
              </a:rPr>
              <a:t>mere om Tænketanken</a:t>
            </a:r>
            <a:endParaRPr lang="da-DK" dirty="0"/>
          </a:p>
          <a:p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12530914" y="4619627"/>
            <a:ext cx="11051452" cy="8906592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latin typeface="+mj-lt"/>
              </a:rPr>
              <a:t>Brug af materialet </a:t>
            </a:r>
          </a:p>
          <a:p>
            <a:pPr marL="0" indent="0">
              <a:buNone/>
            </a:pPr>
            <a:r>
              <a:rPr lang="da-DK" dirty="0" smtClean="0"/>
              <a:t>Din </a:t>
            </a:r>
            <a:r>
              <a:rPr lang="da-DK" dirty="0"/>
              <a:t>opgave som leder er nu at drøfte anbefalingerne med din bestyrelse/FKU og medarbejdere. </a:t>
            </a:r>
            <a:endParaRPr lang="da-DK" dirty="0" smtClean="0"/>
          </a:p>
          <a:p>
            <a:pPr marL="0" indent="0">
              <a:buNone/>
            </a:pPr>
            <a:r>
              <a:rPr lang="da-DK" dirty="0" smtClean="0"/>
              <a:t>Brug nærværende materiale til opgaven. I materialet finder du Tænketankens anbefalinger:</a:t>
            </a:r>
            <a:endParaRPr lang="da-DK" dirty="0"/>
          </a:p>
          <a:p>
            <a:pPr marL="0" indent="0">
              <a:buNone/>
            </a:pPr>
            <a:r>
              <a:rPr lang="da-DK" dirty="0"/>
              <a:t>1) De rette mødeformer og -rum</a:t>
            </a:r>
          </a:p>
          <a:p>
            <a:pPr marL="0" indent="0">
              <a:buNone/>
            </a:pPr>
            <a:r>
              <a:rPr lang="da-DK" dirty="0"/>
              <a:t>2) God brug af digitale platforme</a:t>
            </a:r>
          </a:p>
          <a:p>
            <a:pPr marL="0" indent="0">
              <a:spcBef>
                <a:spcPts val="0"/>
              </a:spcBef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dirty="0" smtClean="0"/>
              <a:t>Hver </a:t>
            </a:r>
            <a:r>
              <a:rPr lang="da-DK" dirty="0"/>
              <a:t>anbefaling er </a:t>
            </a:r>
            <a:r>
              <a:rPr lang="da-DK" dirty="0" smtClean="0"/>
              <a:t>bygget op </a:t>
            </a:r>
            <a:r>
              <a:rPr lang="da-DK" dirty="0"/>
              <a:t>om</a:t>
            </a:r>
          </a:p>
          <a:p>
            <a:pPr lvl="1">
              <a:buFontTx/>
              <a:buChar char="-"/>
            </a:pPr>
            <a:r>
              <a:rPr lang="da-DK" sz="2400" dirty="0" smtClean="0"/>
              <a:t>Indledning til anbefaling</a:t>
            </a:r>
          </a:p>
          <a:p>
            <a:pPr lvl="1">
              <a:buFontTx/>
              <a:buChar char="-"/>
            </a:pPr>
            <a:r>
              <a:rPr lang="da-DK" sz="2400" dirty="0" smtClean="0"/>
              <a:t>Uddybning af anbefaling</a:t>
            </a:r>
            <a:endParaRPr lang="da-DK" sz="2400" dirty="0"/>
          </a:p>
          <a:p>
            <a:pPr lvl="1">
              <a:buFontTx/>
              <a:buChar char="-"/>
            </a:pPr>
            <a:r>
              <a:rPr lang="da-DK" sz="2400" dirty="0" smtClean="0"/>
              <a:t>Spørgsmål </a:t>
            </a:r>
            <a:r>
              <a:rPr lang="da-DK" sz="2400" dirty="0"/>
              <a:t>til </a:t>
            </a:r>
            <a:r>
              <a:rPr lang="da-DK" sz="2400" dirty="0" smtClean="0"/>
              <a:t>dialog</a:t>
            </a:r>
            <a:endParaRPr lang="da-DK" sz="2400" dirty="0"/>
          </a:p>
          <a:p>
            <a:pPr lvl="1">
              <a:buFontTx/>
              <a:buChar char="-"/>
            </a:pPr>
            <a:r>
              <a:rPr lang="da-DK" sz="2400" dirty="0"/>
              <a:t>Link til </a:t>
            </a:r>
            <a:r>
              <a:rPr lang="da-DK" sz="2400" dirty="0" smtClean="0"/>
              <a:t>inspirationsmaterialer</a:t>
            </a:r>
            <a:endParaRPr lang="da-DK" sz="2400" dirty="0"/>
          </a:p>
          <a:p>
            <a:pPr marL="0" indent="0">
              <a:spcBef>
                <a:spcPts val="0"/>
              </a:spcBef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dirty="0" smtClean="0"/>
              <a:t>Har du spørgsmål så kontakt: dagtilbudskonsulent Marlene V. Jensen eller skolekonsulent Birgitte Spandet Thielsen.   </a:t>
            </a:r>
          </a:p>
          <a:p>
            <a:pPr marL="0" indent="0">
              <a:buNone/>
            </a:pPr>
            <a:endParaRPr lang="da-DK" b="1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3649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6B8BFF"/>
                </a:solidFill>
              </a:rPr>
              <a:t>De </a:t>
            </a:r>
            <a:r>
              <a:rPr lang="da-DK" dirty="0">
                <a:solidFill>
                  <a:srgbClr val="6B8BFF"/>
                </a:solidFill>
              </a:rPr>
              <a:t>rette mødeformer og -</a:t>
            </a:r>
            <a:r>
              <a:rPr lang="da-DK" dirty="0" smtClean="0">
                <a:solidFill>
                  <a:srgbClr val="6B8BFF"/>
                </a:solidFill>
              </a:rPr>
              <a:t>rum</a:t>
            </a:r>
            <a:endParaRPr lang="da-DK" dirty="0">
              <a:solidFill>
                <a:srgbClr val="6B8BFF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96878" y="3832228"/>
            <a:ext cx="22804485" cy="9124947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Vi arbejder med at skabe </a:t>
            </a:r>
            <a:r>
              <a:rPr lang="da-DK" dirty="0"/>
              <a:t>gode </a:t>
            </a:r>
            <a:r>
              <a:rPr lang="da-DK" dirty="0" smtClean="0"/>
              <a:t>mødeformer- og rum  </a:t>
            </a:r>
            <a:r>
              <a:rPr lang="da-DK" dirty="0"/>
              <a:t>for forældrenes møde </a:t>
            </a:r>
            <a:r>
              <a:rPr lang="da-DK" dirty="0" smtClean="0"/>
              <a:t>med dagtilbud, skole, SFO og klub. Vi eksperimenterer og prøver nye former af, så vi inviterer til dialog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b="1" dirty="0" smtClean="0">
                <a:latin typeface="+mj-lt"/>
              </a:rPr>
              <a:t>Hvorfor er det vigtigt? </a:t>
            </a:r>
            <a:endParaRPr lang="da-DK" b="1" dirty="0">
              <a:latin typeface="+mj-lt"/>
            </a:endParaRPr>
          </a:p>
          <a:p>
            <a:pPr marL="0" indent="0">
              <a:buNone/>
            </a:pPr>
            <a:r>
              <a:rPr lang="da-DK" dirty="0" smtClean="0"/>
              <a:t>En række forskellige stemmer har bidraget til at sætte temaet på dagsordenen i Tænketanken…. 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De rette mødeformer og -rum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2</a:t>
            </a:fld>
            <a:endParaRPr lang="da-DK"/>
          </a:p>
        </p:txBody>
      </p:sp>
      <p:sp>
        <p:nvSpPr>
          <p:cNvPr id="6" name="Taleboble: rektangel med afrundede hjørner 10">
            <a:extLst>
              <a:ext uri="{FF2B5EF4-FFF2-40B4-BE49-F238E27FC236}">
                <a16:creationId xmlns:a16="http://schemas.microsoft.com/office/drawing/2014/main" id="{86EA4DD2-D411-75E7-619C-E97BEBC7199B}"/>
              </a:ext>
            </a:extLst>
          </p:cNvPr>
          <p:cNvSpPr/>
          <p:nvPr/>
        </p:nvSpPr>
        <p:spPr>
          <a:xfrm>
            <a:off x="16846268" y="8394701"/>
            <a:ext cx="4577087" cy="2963198"/>
          </a:xfrm>
          <a:prstGeom prst="wedgeRoundRectCallout">
            <a:avLst>
              <a:gd name="adj1" fmla="val -38423"/>
              <a:gd name="adj2" fmla="val 67581"/>
              <a:gd name="adj3" fmla="val 16667"/>
            </a:avLst>
          </a:prstGeom>
          <a:solidFill>
            <a:srgbClr val="6B8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(…) Ja </a:t>
            </a:r>
            <a:r>
              <a:rPr kumimoji="0" lang="da-DK" sz="2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til at mødes, men hvordan 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(</a:t>
            </a:r>
            <a:r>
              <a:rPr lang="da-DK" sz="2200" i="1" noProof="0" dirty="0" smtClean="0">
                <a:solidFill>
                  <a:srgbClr val="FFFFFF"/>
                </a:solidFill>
                <a:latin typeface="Aleo" panose="00000500000000000000" pitchFamily="2" charset="0"/>
              </a:rPr>
              <a:t>nogle gange med og nogle gange uden</a:t>
            </a:r>
            <a:r>
              <a:rPr lang="da-DK" sz="2200" i="1" dirty="0" smtClean="0">
                <a:solidFill>
                  <a:srgbClr val="FFFFFF"/>
                </a:solidFill>
                <a:latin typeface="Aleo" panose="00000500000000000000" pitchFamily="2" charset="0"/>
              </a:rPr>
              <a:t>)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 </a:t>
            </a:r>
            <a:r>
              <a:rPr kumimoji="0" lang="da-DK" sz="2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og hvor 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længe, </a:t>
            </a:r>
            <a:r>
              <a:rPr kumimoji="0" lang="da-DK" sz="2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så 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det bliver en samtale mellem </a:t>
            </a:r>
            <a:r>
              <a:rPr kumimoji="0" lang="da-DK" sz="2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skolen og 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hjemmet”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/>
            </a:r>
            <a:b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</a:b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i="1" dirty="0" smtClean="0">
                <a:solidFill>
                  <a:srgbClr val="FFFFFF"/>
                </a:solidFill>
                <a:latin typeface="Aleo" panose="00000500000000000000" pitchFamily="2" charset="0"/>
              </a:rPr>
              <a:t>Inddragelsesplatformen v</a:t>
            </a: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iskaber.roskilde.dk  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</p:txBody>
      </p:sp>
      <p:sp>
        <p:nvSpPr>
          <p:cNvPr id="7" name="Taleboble: rektangel med afrundede hjørner 8">
            <a:extLst>
              <a:ext uri="{FF2B5EF4-FFF2-40B4-BE49-F238E27FC236}">
                <a16:creationId xmlns:a16="http://schemas.microsoft.com/office/drawing/2014/main" id="{7ABCC338-0775-3D0D-0D80-45BB8F01A069}"/>
              </a:ext>
            </a:extLst>
          </p:cNvPr>
          <p:cNvSpPr/>
          <p:nvPr/>
        </p:nvSpPr>
        <p:spPr>
          <a:xfrm>
            <a:off x="12085516" y="6918386"/>
            <a:ext cx="4270167" cy="2915728"/>
          </a:xfrm>
          <a:prstGeom prst="wedgeRoundRectCallout">
            <a:avLst/>
          </a:prstGeom>
          <a:solidFill>
            <a:srgbClr val="6B8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</a:t>
            </a:r>
            <a:r>
              <a:rPr lang="da-DK" sz="2200" dirty="0">
                <a:latin typeface="Aleo" panose="00000500000000000000" pitchFamily="2" charset="0"/>
              </a:rPr>
              <a:t> Jeg så </a:t>
            </a:r>
            <a:r>
              <a:rPr lang="da-DK" sz="2200" dirty="0" smtClean="0">
                <a:latin typeface="Aleo" panose="00000500000000000000" pitchFamily="2" charset="0"/>
              </a:rPr>
              <a:t>gerne </a:t>
            </a:r>
            <a:r>
              <a:rPr lang="da-DK" sz="2200" dirty="0">
                <a:latin typeface="Aleo" panose="00000500000000000000" pitchFamily="2" charset="0"/>
              </a:rPr>
              <a:t>alternative forældremøder, hvor der var tid til at tale med lærerne i mindre grupper og børnene viste, hvad de lavede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 </a:t>
            </a:r>
            <a:b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</a:br>
            <a:endParaRPr kumimoji="0" lang="da-DK" sz="2200" b="0" i="1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lvl="0" algn="ctr">
              <a:defRPr/>
            </a:pPr>
            <a:r>
              <a:rPr lang="da-DK" i="1" dirty="0">
                <a:solidFill>
                  <a:srgbClr val="FFFFFF"/>
                </a:solidFill>
                <a:latin typeface="Aleo" panose="00000500000000000000" pitchFamily="2" charset="0"/>
              </a:rPr>
              <a:t>Inddragelsesplatformen viskaber.roskilde.dk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</p:txBody>
      </p:sp>
      <p:sp>
        <p:nvSpPr>
          <p:cNvPr id="8" name="Taleboble: rektangel med afrundede hjørner 6">
            <a:extLst>
              <a:ext uri="{FF2B5EF4-FFF2-40B4-BE49-F238E27FC236}">
                <a16:creationId xmlns:a16="http://schemas.microsoft.com/office/drawing/2014/main" id="{65CC70A8-3267-25F7-B717-50DD059ADBB4}"/>
              </a:ext>
            </a:extLst>
          </p:cNvPr>
          <p:cNvSpPr/>
          <p:nvPr/>
        </p:nvSpPr>
        <p:spPr>
          <a:xfrm>
            <a:off x="2479405" y="7728176"/>
            <a:ext cx="3737194" cy="1879183"/>
          </a:xfrm>
          <a:prstGeom prst="wedgeRoundRectCallout">
            <a:avLst/>
          </a:prstGeom>
          <a:solidFill>
            <a:srgbClr val="6B8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De </a:t>
            </a:r>
            <a:r>
              <a:rPr kumimoji="0" lang="da-DK" sz="2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små møder </a:t>
            </a: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skaber </a:t>
            </a:r>
            <a:b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</a:b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tillid </a:t>
            </a:r>
            <a:r>
              <a:rPr lang="da-DK" sz="2200" i="1" dirty="0" smtClean="0">
                <a:solidFill>
                  <a:srgbClr val="FFFFFF"/>
                </a:solidFill>
                <a:latin typeface="Aleo" panose="00000500000000000000" pitchFamily="2" charset="0"/>
              </a:rPr>
              <a:t>og tryghed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Dialogforum og Lederforum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</p:txBody>
      </p:sp>
      <p:sp>
        <p:nvSpPr>
          <p:cNvPr id="9" name="Taleboble: rektangel med afrundede hjørner 6">
            <a:extLst>
              <a:ext uri="{FF2B5EF4-FFF2-40B4-BE49-F238E27FC236}">
                <a16:creationId xmlns:a16="http://schemas.microsoft.com/office/drawing/2014/main" id="{65CC70A8-3267-25F7-B717-50DD059ADBB4}"/>
              </a:ext>
            </a:extLst>
          </p:cNvPr>
          <p:cNvSpPr/>
          <p:nvPr/>
        </p:nvSpPr>
        <p:spPr>
          <a:xfrm>
            <a:off x="6901743" y="9198145"/>
            <a:ext cx="4498629" cy="3013219"/>
          </a:xfrm>
          <a:prstGeom prst="wedgeRoundRectCallout">
            <a:avLst/>
          </a:prstGeom>
          <a:solidFill>
            <a:srgbClr val="6B8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Fremfor at de fagprofessionelle møder op med en færdig dagsorden og </a:t>
            </a:r>
            <a:r>
              <a:rPr lang="da-DK" sz="2200" i="1" dirty="0" smtClean="0">
                <a:solidFill>
                  <a:srgbClr val="FFFFFF"/>
                </a:solidFill>
                <a:latin typeface="Aleo" panose="00000500000000000000" pitchFamily="2" charset="0"/>
              </a:rPr>
              <a:t>løsninger, skal de hellere være opdagelsesrejsende sammen med forældrene”. </a:t>
            </a:r>
            <a:br>
              <a:rPr lang="da-DK" sz="2200" i="1" dirty="0" smtClean="0">
                <a:solidFill>
                  <a:srgbClr val="FFFFFF"/>
                </a:solidFill>
                <a:latin typeface="Aleo" panose="00000500000000000000" pitchFamily="2" charset="0"/>
              </a:rPr>
            </a:br>
            <a:endParaRPr lang="da-DK" sz="2200" i="1" dirty="0" smtClean="0">
              <a:solidFill>
                <a:srgbClr val="FFFFFF"/>
              </a:solidFill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</a:rPr>
              <a:t>Medlem af Tænketanken</a:t>
            </a:r>
            <a:r>
              <a:rPr kumimoji="0" lang="da-DK" sz="2000" b="0" i="1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 </a:t>
            </a:r>
            <a:endParaRPr kumimoji="0" lang="da-DK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A74521D-C5DB-89DD-3CAF-4B0B3ADCA8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5271" y="1624141"/>
            <a:ext cx="2108701" cy="207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84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6B8BFF"/>
                </a:solidFill>
              </a:rPr>
              <a:t>De </a:t>
            </a:r>
            <a:r>
              <a:rPr lang="da-DK" dirty="0">
                <a:solidFill>
                  <a:srgbClr val="6B8BFF"/>
                </a:solidFill>
              </a:rPr>
              <a:t>rette mødeformer og </a:t>
            </a:r>
            <a:r>
              <a:rPr lang="da-DK" dirty="0" smtClean="0">
                <a:solidFill>
                  <a:srgbClr val="6B8BFF"/>
                </a:solidFill>
              </a:rPr>
              <a:t>-rum</a:t>
            </a:r>
            <a:endParaRPr lang="da-DK" dirty="0">
              <a:solidFill>
                <a:srgbClr val="6B8BFF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796876" y="4619627"/>
            <a:ext cx="22040264" cy="8350250"/>
          </a:xfrm>
        </p:spPr>
        <p:txBody>
          <a:bodyPr/>
          <a:lstStyle/>
          <a:p>
            <a:pPr marL="0" indent="0">
              <a:buNone/>
            </a:pPr>
            <a:r>
              <a:rPr lang="da-DK" sz="2800" b="1" dirty="0" smtClean="0">
                <a:latin typeface="+mj-lt"/>
              </a:rPr>
              <a:t>Det handler om…</a:t>
            </a:r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d</a:t>
            </a:r>
            <a:r>
              <a:rPr lang="da-DK" sz="2800" dirty="0" smtClean="0"/>
              <a:t>e </a:t>
            </a:r>
            <a:r>
              <a:rPr lang="da-DK" sz="2800" dirty="0"/>
              <a:t>former og rum som samarbejdet udspiller sig </a:t>
            </a:r>
            <a:r>
              <a:rPr lang="da-DK" sz="2800" dirty="0" smtClean="0"/>
              <a:t>i, og at møderum og form passer til mødets formål.</a:t>
            </a:r>
            <a:endParaRPr lang="da-DK" sz="2800" dirty="0"/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e</a:t>
            </a:r>
            <a:r>
              <a:rPr lang="da-DK" sz="2800" dirty="0" smtClean="0"/>
              <a:t>t </a:t>
            </a:r>
            <a:r>
              <a:rPr lang="da-DK" sz="2800" dirty="0"/>
              <a:t>behov for, at der er tryghed og tillid i de former og rum – både for fagpersonale, forældre og børn og </a:t>
            </a:r>
            <a:r>
              <a:rPr lang="da-DK" sz="2800" dirty="0" smtClean="0"/>
              <a:t>unge.</a:t>
            </a:r>
            <a:endParaRPr lang="da-DK" sz="2800" dirty="0"/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e</a:t>
            </a:r>
            <a:r>
              <a:rPr lang="da-DK" sz="2800" dirty="0" smtClean="0"/>
              <a:t>n </a:t>
            </a:r>
            <a:r>
              <a:rPr lang="da-DK" sz="2800" dirty="0"/>
              <a:t>opmærksomhed på forventningsafstemningens betydning for, at former og rum er </a:t>
            </a:r>
            <a:r>
              <a:rPr lang="da-DK" sz="2800" dirty="0" smtClean="0"/>
              <a:t>velfungerende.</a:t>
            </a:r>
            <a:endParaRPr lang="da-DK" sz="2800" dirty="0"/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b</a:t>
            </a:r>
            <a:r>
              <a:rPr lang="da-DK" sz="2800" dirty="0" smtClean="0"/>
              <a:t>ehov </a:t>
            </a:r>
            <a:r>
              <a:rPr lang="da-DK" sz="2800" dirty="0"/>
              <a:t>for opmærksomhed i balancerne mellem det medarbejdere og ledere har behov for at kommunikere </a:t>
            </a:r>
            <a:r>
              <a:rPr lang="da-DK" sz="2800" dirty="0" smtClean="0"/>
              <a:t/>
            </a:r>
            <a:br>
              <a:rPr lang="da-DK" sz="2800" dirty="0" smtClean="0"/>
            </a:br>
            <a:r>
              <a:rPr lang="da-DK" sz="2800" dirty="0" smtClean="0"/>
              <a:t>og de </a:t>
            </a:r>
            <a:r>
              <a:rPr lang="da-DK" sz="2800" dirty="0"/>
              <a:t>tanker og input som forældre </a:t>
            </a:r>
            <a:r>
              <a:rPr lang="da-DK" sz="2800" dirty="0" smtClean="0"/>
              <a:t>og/eller børn og unge ønsker at </a:t>
            </a:r>
            <a:r>
              <a:rPr lang="da-DK" sz="2800" dirty="0"/>
              <a:t>byde ind </a:t>
            </a:r>
            <a:r>
              <a:rPr lang="da-DK" sz="2800" dirty="0" smtClean="0"/>
              <a:t>med. </a:t>
            </a:r>
            <a:endParaRPr lang="da-DK" sz="2800" dirty="0"/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b</a:t>
            </a:r>
            <a:r>
              <a:rPr lang="da-DK" sz="2800" dirty="0" smtClean="0"/>
              <a:t>ehov </a:t>
            </a:r>
            <a:r>
              <a:rPr lang="da-DK" sz="2800" dirty="0"/>
              <a:t>for opmærksomhed på hvor vigtigt </a:t>
            </a:r>
            <a:r>
              <a:rPr lang="da-DK" sz="2800" dirty="0" err="1"/>
              <a:t>mødefacilitering</a:t>
            </a:r>
            <a:r>
              <a:rPr lang="da-DK" sz="2800" dirty="0"/>
              <a:t>, tone og kropssprog er for et velfungerende møde </a:t>
            </a:r>
            <a:r>
              <a:rPr lang="da-DK" sz="2800" dirty="0" smtClean="0"/>
              <a:t/>
            </a:r>
            <a:br>
              <a:rPr lang="da-DK" sz="2800" dirty="0" smtClean="0"/>
            </a:br>
            <a:r>
              <a:rPr lang="da-DK" sz="2800" dirty="0" smtClean="0"/>
              <a:t>– </a:t>
            </a:r>
            <a:r>
              <a:rPr lang="da-DK" sz="2800" dirty="0"/>
              <a:t>og </a:t>
            </a:r>
            <a:r>
              <a:rPr lang="da-DK" sz="2800" dirty="0" smtClean="0"/>
              <a:t>samarbejde. </a:t>
            </a:r>
            <a:r>
              <a:rPr lang="da-DK" sz="2800" dirty="0"/>
              <a:t>Særligt </a:t>
            </a:r>
            <a:r>
              <a:rPr lang="da-DK" sz="2800" dirty="0" smtClean="0"/>
              <a:t>i forhold til </a:t>
            </a:r>
            <a:r>
              <a:rPr lang="da-DK" sz="2800" dirty="0"/>
              <a:t>de ‘svære’ samtaler. </a:t>
            </a:r>
            <a:endParaRPr lang="da-DK" sz="2800" dirty="0" smtClean="0"/>
          </a:p>
          <a:p>
            <a:pPr marL="285750" indent="-285750">
              <a:lnSpc>
                <a:spcPct val="150000"/>
              </a:lnSpc>
            </a:pPr>
            <a:r>
              <a:rPr lang="da-DK" sz="2800" dirty="0"/>
              <a:t>a</a:t>
            </a:r>
            <a:r>
              <a:rPr lang="da-DK" sz="2800" dirty="0" smtClean="0"/>
              <a:t>t styrke det gode børneliv ved at tale ud fra barnets trivsel, udvikling og læring. F.eks. ved at </a:t>
            </a:r>
            <a:r>
              <a:rPr lang="da-DK" sz="2800" dirty="0"/>
              <a:t>børn </a:t>
            </a:r>
            <a:r>
              <a:rPr lang="da-DK" sz="2800" dirty="0" smtClean="0"/>
              <a:t>og unge </a:t>
            </a:r>
            <a:br>
              <a:rPr lang="da-DK" sz="2800" dirty="0" smtClean="0"/>
            </a:br>
            <a:r>
              <a:rPr lang="da-DK" sz="2800" dirty="0" smtClean="0"/>
              <a:t>skal/kan </a:t>
            </a:r>
            <a:r>
              <a:rPr lang="da-DK" sz="2800" dirty="0"/>
              <a:t>deltage i møderne – også de ældste børn i børnehaven. </a:t>
            </a:r>
          </a:p>
          <a:p>
            <a:pPr marL="285750" indent="-285750"/>
            <a:endParaRPr lang="da-DK" sz="2800" dirty="0"/>
          </a:p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1) De rette mødeformer og -rum</a:t>
            </a:r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A74521D-C5DB-89DD-3CAF-4B0B3ADCA8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4720" y="1618711"/>
            <a:ext cx="2108701" cy="207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14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 smtClean="0">
                <a:solidFill>
                  <a:srgbClr val="6B8BFF"/>
                </a:solidFill>
              </a:rPr>
              <a:t>Spørgsmål til dialog</a:t>
            </a:r>
            <a:endParaRPr lang="da-DK" sz="4800" dirty="0">
              <a:solidFill>
                <a:srgbClr val="6B8BFF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77883" y="3832228"/>
            <a:ext cx="22804485" cy="9375772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a-DK" sz="2800" dirty="0" smtClean="0">
                <a:latin typeface="+mj-lt"/>
              </a:rPr>
              <a:t>Hvilke </a:t>
            </a:r>
            <a:r>
              <a:rPr lang="da-DK" sz="2800" dirty="0">
                <a:latin typeface="+mj-lt"/>
              </a:rPr>
              <a:t>mødeformer og rum egner sig bedst til hvad</a:t>
            </a:r>
            <a:r>
              <a:rPr lang="da-DK" sz="2800" dirty="0" smtClean="0">
                <a:latin typeface="+mj-lt"/>
              </a:rPr>
              <a:t>?</a:t>
            </a:r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 smtClean="0"/>
              <a:t>Tid</a:t>
            </a:r>
            <a:r>
              <a:rPr lang="da-DK" sz="2400" dirty="0"/>
              <a:t>: Hvornår afholdes et møde? </a:t>
            </a:r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/>
              <a:t>Sted og rum: Hvor afholdes et møde? Altid </a:t>
            </a:r>
            <a:r>
              <a:rPr lang="da-DK" sz="2400" dirty="0" smtClean="0"/>
              <a:t>i klasselokalet/på stuen? Online? Hjemme hos barnet?  </a:t>
            </a:r>
            <a:endParaRPr lang="da-DK" sz="2400" dirty="0"/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 smtClean="0"/>
              <a:t>Formål: Hvad </a:t>
            </a:r>
            <a:r>
              <a:rPr lang="da-DK" sz="2400" dirty="0"/>
              <a:t>mødes hvem om? </a:t>
            </a:r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/>
              <a:t>Forberedelse: Hvordan understøttes </a:t>
            </a:r>
            <a:r>
              <a:rPr lang="da-DK" sz="2400" dirty="0" smtClean="0"/>
              <a:t>det at alle er forberedte?</a:t>
            </a:r>
            <a:endParaRPr lang="da-DK" sz="2400" dirty="0"/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 smtClean="0"/>
              <a:t>Værtsskab: Hvem har værtsskabet (fagpersonale, forældre, børn/unge) og er de rette kompetencer til </a:t>
            </a:r>
            <a:r>
              <a:rPr lang="da-DK" sz="2400" dirty="0" err="1" smtClean="0"/>
              <a:t>facilitering</a:t>
            </a:r>
            <a:r>
              <a:rPr lang="da-DK" sz="2400" dirty="0" smtClean="0"/>
              <a:t> til stede?</a:t>
            </a:r>
          </a:p>
          <a:p>
            <a:pPr marL="720090" lvl="2" indent="-171450">
              <a:lnSpc>
                <a:spcPct val="150000"/>
              </a:lnSpc>
              <a:spcBef>
                <a:spcPts val="0"/>
              </a:spcBef>
            </a:pPr>
            <a:r>
              <a:rPr lang="da-DK" sz="2400" dirty="0" smtClean="0"/>
              <a:t> Opfølgning: Hvordan følger vi op?   </a:t>
            </a:r>
            <a:endParaRPr lang="da-DK" sz="2400" dirty="0"/>
          </a:p>
          <a:p>
            <a:endParaRPr lang="da-DK" sz="2800" dirty="0"/>
          </a:p>
          <a:p>
            <a:r>
              <a:rPr lang="da-DK" sz="2400" dirty="0" smtClean="0"/>
              <a:t>Giver vi plads til at </a:t>
            </a:r>
            <a:r>
              <a:rPr lang="da-DK" sz="2400" dirty="0"/>
              <a:t>eksperimentere </a:t>
            </a:r>
            <a:r>
              <a:rPr lang="da-DK" sz="2400" dirty="0" smtClean="0"/>
              <a:t>med mødeformer og –rum? </a:t>
            </a:r>
            <a:br>
              <a:rPr lang="da-DK" sz="2400" dirty="0" smtClean="0"/>
            </a:br>
            <a:r>
              <a:rPr lang="da-DK" sz="2400" dirty="0" smtClean="0"/>
              <a:t>Eksempelvis morgenkaffe, dialogcaféer, pasning under møder, afholde møder udendørs, temamøder etc. Hvad vil vi prøve af hos os?  </a:t>
            </a:r>
            <a:endParaRPr lang="da-DK" sz="2400" dirty="0"/>
          </a:p>
          <a:p>
            <a:endParaRPr lang="da-DK" sz="2400" dirty="0" smtClean="0"/>
          </a:p>
          <a:p>
            <a:r>
              <a:rPr lang="da-DK" sz="2400" dirty="0" smtClean="0"/>
              <a:t>Hvordan skaber vi den rette balance mellem information, dialog og fælles refleksion? </a:t>
            </a:r>
          </a:p>
          <a:p>
            <a:endParaRPr lang="da-DK" sz="2400" dirty="0" smtClean="0"/>
          </a:p>
          <a:p>
            <a:r>
              <a:rPr lang="da-DK" sz="2400" dirty="0" smtClean="0"/>
              <a:t>Har </a:t>
            </a:r>
            <a:r>
              <a:rPr lang="da-DK" sz="2400" dirty="0"/>
              <a:t>alle </a:t>
            </a:r>
            <a:r>
              <a:rPr lang="da-DK" sz="2400" dirty="0" smtClean="0"/>
              <a:t>forældre og børn behov for det samme</a:t>
            </a:r>
            <a:r>
              <a:rPr lang="da-DK" sz="2400" dirty="0"/>
              <a:t>? </a:t>
            </a:r>
            <a:r>
              <a:rPr lang="da-DK" sz="2400" dirty="0" smtClean="0"/>
              <a:t/>
            </a:r>
            <a:br>
              <a:rPr lang="da-DK" sz="2400" dirty="0" smtClean="0"/>
            </a:br>
            <a:r>
              <a:rPr lang="da-DK" sz="2400" dirty="0" smtClean="0"/>
              <a:t>Hvordan kan vi differentiere mødeformerne i forhold til forældre og børns forskellige forudsætninger og behov? </a:t>
            </a:r>
          </a:p>
          <a:p>
            <a:endParaRPr lang="da-DK" sz="2400" dirty="0"/>
          </a:p>
          <a:p>
            <a:r>
              <a:rPr lang="da-DK" sz="2400" dirty="0"/>
              <a:t>For at skabe forandring inden for dette tema, hvad er så det næste </a:t>
            </a:r>
            <a:r>
              <a:rPr lang="da-DK" sz="2400" dirty="0" smtClean="0"/>
              <a:t>skridt for bestyrelsen/FKU, medarbejdere og ledelse?  </a:t>
            </a:r>
            <a:endParaRPr lang="da-DK" sz="2400" dirty="0"/>
          </a:p>
          <a:p>
            <a:endParaRPr lang="da-DK" sz="2000" dirty="0"/>
          </a:p>
          <a:p>
            <a:pPr marL="0" indent="0">
              <a:buNone/>
            </a:pPr>
            <a:endParaRPr lang="da-DK" sz="28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/>
              <a:t>Anbefaling 1) De rette mødeformer og -rum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4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DA74521D-C5DB-89DD-3CAF-4B0B3ADCA8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0" y="1575680"/>
            <a:ext cx="2108701" cy="207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59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12231146" y="4023359"/>
            <a:ext cx="11370833" cy="7777779"/>
          </a:xfrm>
          <a:prstGeom prst="rect">
            <a:avLst/>
          </a:prstGeom>
          <a:solidFill>
            <a:srgbClr val="B5C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ktangel 7"/>
          <p:cNvSpPr/>
          <p:nvPr/>
        </p:nvSpPr>
        <p:spPr>
          <a:xfrm>
            <a:off x="559398" y="4023360"/>
            <a:ext cx="11370833" cy="7777779"/>
          </a:xfrm>
          <a:prstGeom prst="rect">
            <a:avLst/>
          </a:prstGeom>
          <a:solidFill>
            <a:srgbClr val="C8D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6876" y="2316956"/>
            <a:ext cx="9250766" cy="1093218"/>
          </a:xfrm>
        </p:spPr>
        <p:txBody>
          <a:bodyPr/>
          <a:lstStyle/>
          <a:p>
            <a:r>
              <a:rPr lang="da-DK" dirty="0" smtClean="0">
                <a:solidFill>
                  <a:srgbClr val="6B8BFF"/>
                </a:solidFill>
              </a:rPr>
              <a:t>Inspirationsmaterialer</a:t>
            </a:r>
            <a:endParaRPr lang="da-DK" dirty="0">
              <a:solidFill>
                <a:srgbClr val="6B8BFF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da-DK" sz="4000" b="1" dirty="0" smtClean="0">
                <a:latin typeface="+mj-lt"/>
              </a:rPr>
              <a:t>Dagtilbud</a:t>
            </a:r>
          </a:p>
          <a:p>
            <a:r>
              <a:rPr lang="da-DK" sz="3200" dirty="0" smtClean="0"/>
              <a:t>Kort om forældresamarbejde  </a:t>
            </a:r>
          </a:p>
          <a:p>
            <a:pPr marL="0" indent="0">
              <a:buNone/>
            </a:pPr>
            <a:r>
              <a:rPr lang="da-DK" sz="2400" dirty="0">
                <a:hlinkClick r:id="rId2"/>
              </a:rPr>
              <a:t>Forældresamarbejde | emu </a:t>
            </a:r>
            <a:r>
              <a:rPr lang="da-DK" sz="2400" dirty="0" err="1">
                <a:hlinkClick r:id="rId2"/>
              </a:rPr>
              <a:t>danmarks</a:t>
            </a:r>
            <a:r>
              <a:rPr lang="da-DK" sz="2400" dirty="0">
                <a:hlinkClick r:id="rId2"/>
              </a:rPr>
              <a:t> </a:t>
            </a:r>
            <a:r>
              <a:rPr lang="da-DK" sz="2400" dirty="0" smtClean="0">
                <a:hlinkClick r:id="rId2"/>
              </a:rPr>
              <a:t>læringsportal</a:t>
            </a:r>
            <a:r>
              <a:rPr lang="da-DK" sz="2400" dirty="0" smtClean="0"/>
              <a:t> </a:t>
            </a:r>
          </a:p>
          <a:p>
            <a:pPr marL="0" indent="0">
              <a:buNone/>
            </a:pPr>
            <a:endParaRPr lang="da-DK" sz="3200" dirty="0"/>
          </a:p>
          <a:p>
            <a:r>
              <a:rPr lang="da-DK" sz="3200" dirty="0" smtClean="0"/>
              <a:t>Materialepakken Sammen om børnene – dialog om forventninger til samarbejde mellem forældre og dagtilbud  </a:t>
            </a:r>
          </a:p>
          <a:p>
            <a:pPr marL="0" indent="0">
              <a:buNone/>
            </a:pPr>
            <a:r>
              <a:rPr lang="da-DK" sz="2400" dirty="0" smtClean="0">
                <a:hlinkClick r:id="rId3"/>
              </a:rPr>
              <a:t>Sammen </a:t>
            </a:r>
            <a:r>
              <a:rPr lang="da-DK" sz="2400" dirty="0">
                <a:hlinkClick r:id="rId3"/>
              </a:rPr>
              <a:t>om børnene | emu </a:t>
            </a:r>
            <a:r>
              <a:rPr lang="da-DK" sz="2400" dirty="0" err="1">
                <a:hlinkClick r:id="rId3"/>
              </a:rPr>
              <a:t>danmarks</a:t>
            </a:r>
            <a:r>
              <a:rPr lang="da-DK" sz="2400" dirty="0">
                <a:hlinkClick r:id="rId3"/>
              </a:rPr>
              <a:t> </a:t>
            </a:r>
            <a:r>
              <a:rPr lang="da-DK" sz="2400" dirty="0" smtClean="0">
                <a:hlinkClick r:id="rId3"/>
              </a:rPr>
              <a:t>læringsportal</a:t>
            </a:r>
            <a:r>
              <a:rPr lang="da-DK" sz="2400" dirty="0" smtClean="0"/>
              <a:t> </a:t>
            </a:r>
            <a:endParaRPr lang="da-DK" sz="2400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da-DK" sz="4400" b="1" dirty="0" smtClean="0">
                <a:latin typeface="+mj-lt"/>
              </a:rPr>
              <a:t>Skole</a:t>
            </a:r>
            <a:r>
              <a:rPr lang="da-DK" dirty="0" smtClean="0">
                <a:latin typeface="+mj-lt"/>
              </a:rPr>
              <a:t> </a:t>
            </a:r>
          </a:p>
          <a:p>
            <a:r>
              <a:rPr lang="da-DK" sz="3200" dirty="0" smtClean="0"/>
              <a:t>Viden om skole-hjem-samarbejde </a:t>
            </a:r>
            <a:endParaRPr lang="da-DK" sz="3200" dirty="0" smtClean="0">
              <a:hlinkClick r:id="rId4"/>
            </a:endParaRPr>
          </a:p>
          <a:p>
            <a:pPr marL="0" indent="0">
              <a:buNone/>
            </a:pPr>
            <a:r>
              <a:rPr lang="da-DK" sz="2400" dirty="0" smtClean="0">
                <a:hlinkClick r:id="rId4"/>
              </a:rPr>
              <a:t>Viden </a:t>
            </a:r>
            <a:r>
              <a:rPr lang="da-DK" sz="2400" dirty="0">
                <a:hlinkClick r:id="rId4"/>
              </a:rPr>
              <a:t>Om - skole-hjem-samarbejde | emu </a:t>
            </a:r>
            <a:r>
              <a:rPr lang="da-DK" sz="2400" dirty="0" err="1">
                <a:hlinkClick r:id="rId4"/>
              </a:rPr>
              <a:t>danmarks</a:t>
            </a:r>
            <a:r>
              <a:rPr lang="da-DK" sz="2400" dirty="0">
                <a:hlinkClick r:id="rId4"/>
              </a:rPr>
              <a:t> </a:t>
            </a:r>
            <a:r>
              <a:rPr lang="da-DK" sz="2400" dirty="0" smtClean="0">
                <a:hlinkClick r:id="rId4"/>
              </a:rPr>
              <a:t>læringsportal</a:t>
            </a:r>
            <a:endParaRPr lang="da-DK" sz="2400" dirty="0" smtClean="0"/>
          </a:p>
          <a:p>
            <a:pPr marL="0" indent="0">
              <a:buNone/>
            </a:pPr>
            <a:endParaRPr lang="da-DK" sz="3200" dirty="0"/>
          </a:p>
          <a:p>
            <a:r>
              <a:rPr lang="da-DK" sz="3200" dirty="0" smtClean="0"/>
              <a:t>Rikke Yde </a:t>
            </a:r>
            <a:r>
              <a:rPr lang="da-DK" sz="3200" dirty="0" err="1" smtClean="0"/>
              <a:t>Thorndrup</a:t>
            </a:r>
            <a:r>
              <a:rPr lang="da-DK" sz="3200" dirty="0" smtClean="0"/>
              <a:t>: Markante forældre </a:t>
            </a:r>
          </a:p>
          <a:p>
            <a:pPr marL="0" indent="0">
              <a:buNone/>
            </a:pPr>
            <a:endParaRPr lang="da-DK" sz="3200" dirty="0" smtClean="0"/>
          </a:p>
          <a:p>
            <a:r>
              <a:rPr lang="da-DK" sz="3200" dirty="0" smtClean="0"/>
              <a:t>Gro Emmertsen Lund: </a:t>
            </a:r>
            <a:r>
              <a:rPr lang="da-DK" sz="3200" dirty="0" err="1" smtClean="0"/>
              <a:t>Responsivt</a:t>
            </a:r>
            <a:r>
              <a:rPr lang="da-DK" sz="3200" dirty="0" smtClean="0"/>
              <a:t> Forældresamarbejde i skolen </a:t>
            </a:r>
          </a:p>
          <a:p>
            <a:endParaRPr lang="da-DK" sz="3200" dirty="0"/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Anbefaling 1) De rette mødeformer og -rum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5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DA74521D-C5DB-89DD-3CAF-4B0B3ADCA8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735" y="1618711"/>
            <a:ext cx="2108701" cy="207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0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 smtClean="0">
                <a:solidFill>
                  <a:srgbClr val="FD7755"/>
                </a:solidFill>
              </a:rPr>
              <a:t>God </a:t>
            </a:r>
            <a:r>
              <a:rPr lang="da-DK" b="1" dirty="0">
                <a:solidFill>
                  <a:srgbClr val="FD7755"/>
                </a:solidFill>
              </a:rPr>
              <a:t>brug af digitale platforme</a:t>
            </a:r>
            <a:endParaRPr lang="da-DK" dirty="0">
              <a:solidFill>
                <a:srgbClr val="FD7755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96878" y="3566160"/>
            <a:ext cx="22804485" cy="9391015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Vi arbejder med at </a:t>
            </a:r>
            <a:r>
              <a:rPr lang="da-DK" dirty="0"/>
              <a:t>sikre en god og konstruktiv brug af digitale platforme</a:t>
            </a:r>
            <a:r>
              <a:rPr lang="da-DK" dirty="0" smtClean="0"/>
              <a:t>. Der er behov for en bedre balance i mængden af information til og fra forældre og en bedre forventningsafstemning om brugen af de digitale platforme.  </a:t>
            </a:r>
            <a:endParaRPr lang="da-DK" dirty="0"/>
          </a:p>
          <a:p>
            <a:pPr marL="0" indent="0">
              <a:buNone/>
            </a:pPr>
            <a:endParaRPr lang="da-DK" b="1" dirty="0" smtClean="0"/>
          </a:p>
          <a:p>
            <a:pPr marL="0" indent="0">
              <a:buNone/>
            </a:pPr>
            <a:endParaRPr lang="da-DK" b="1" dirty="0"/>
          </a:p>
          <a:p>
            <a:pPr marL="0" indent="0">
              <a:buNone/>
            </a:pPr>
            <a:r>
              <a:rPr lang="da-DK" b="1" dirty="0" smtClean="0">
                <a:latin typeface="+mj-lt"/>
              </a:rPr>
              <a:t>Hvorfor </a:t>
            </a:r>
            <a:r>
              <a:rPr lang="da-DK" b="1" dirty="0">
                <a:latin typeface="+mj-lt"/>
              </a:rPr>
              <a:t>er det vigtigt? </a:t>
            </a:r>
          </a:p>
          <a:p>
            <a:pPr marL="0" indent="0">
              <a:buNone/>
            </a:pPr>
            <a:r>
              <a:rPr lang="da-DK" dirty="0"/>
              <a:t>En række forskellige stemmer har bidraget til at satte temaet på </a:t>
            </a:r>
            <a:r>
              <a:rPr lang="da-DK" dirty="0" smtClean="0"/>
              <a:t>dagsordenen i Tænketanken…</a:t>
            </a:r>
            <a:endParaRPr lang="da-DK" dirty="0"/>
          </a:p>
          <a:p>
            <a:pPr marL="0" indent="0">
              <a:buNone/>
            </a:pPr>
            <a:r>
              <a:rPr lang="da-DK" dirty="0"/>
              <a:t> </a:t>
            </a:r>
          </a:p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Anbefaling 2) God brug af digitale platforme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6</a:t>
            </a:fld>
            <a:endParaRPr lang="da-DK"/>
          </a:p>
        </p:txBody>
      </p:sp>
      <p:sp>
        <p:nvSpPr>
          <p:cNvPr id="6" name="Taleboble: rektangel med afrundede hjørner 4">
            <a:extLst>
              <a:ext uri="{FF2B5EF4-FFF2-40B4-BE49-F238E27FC236}">
                <a16:creationId xmlns:a16="http://schemas.microsoft.com/office/drawing/2014/main" id="{0DFFE4E3-7113-8A68-C0AC-A3301F7EE797}"/>
              </a:ext>
            </a:extLst>
          </p:cNvPr>
          <p:cNvSpPr/>
          <p:nvPr/>
        </p:nvSpPr>
        <p:spPr>
          <a:xfrm>
            <a:off x="525780" y="7559173"/>
            <a:ext cx="5080347" cy="3550787"/>
          </a:xfrm>
          <a:prstGeom prst="wedgeRoundRectCallout">
            <a:avLst/>
          </a:prstGeom>
          <a:solidFill>
            <a:srgbClr val="FD77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Hvad 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hvis ALLE, dvs. skolens ledelse, ansatte og undervisere, men også de andre forældre, gik ud fra, at AULA kun tjekkes en gang om 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ugen?” 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Inddragelsesplatformen </a:t>
            </a:r>
            <a:r>
              <a:rPr kumimoji="0" lang="da-DK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viskaber.roskilde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</p:txBody>
      </p:sp>
      <p:sp>
        <p:nvSpPr>
          <p:cNvPr id="7" name="Taleboble: rektangel med afrundede hjørner 5">
            <a:extLst>
              <a:ext uri="{FF2B5EF4-FFF2-40B4-BE49-F238E27FC236}">
                <a16:creationId xmlns:a16="http://schemas.microsoft.com/office/drawing/2014/main" id="{2EB331A6-1084-31EC-BED9-329404ADDABA}"/>
              </a:ext>
            </a:extLst>
          </p:cNvPr>
          <p:cNvSpPr/>
          <p:nvPr/>
        </p:nvSpPr>
        <p:spPr>
          <a:xfrm>
            <a:off x="14234376" y="7397809"/>
            <a:ext cx="4886912" cy="4061728"/>
          </a:xfrm>
          <a:prstGeom prst="wedgeRoundRectCallout">
            <a:avLst/>
          </a:prstGeom>
          <a:solidFill>
            <a:srgbClr val="FE9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da-DK" sz="2400" dirty="0" smtClean="0">
                <a:latin typeface="Aleo" panose="00000500000000000000" pitchFamily="2" charset="0"/>
              </a:rPr>
              <a:t>”Med </a:t>
            </a:r>
            <a:r>
              <a:rPr lang="da-DK" sz="2400" dirty="0">
                <a:latin typeface="Aleo" panose="00000500000000000000" pitchFamily="2" charset="0"/>
              </a:rPr>
              <a:t>den </a:t>
            </a:r>
            <a:r>
              <a:rPr lang="da-DK" sz="2400" dirty="0" smtClean="0">
                <a:latin typeface="Aleo" panose="00000500000000000000" pitchFamily="2" charset="0"/>
              </a:rPr>
              <a:t>digitale kommunikation </a:t>
            </a:r>
            <a:r>
              <a:rPr lang="da-DK" sz="2400" dirty="0">
                <a:latin typeface="Aleo" panose="00000500000000000000" pitchFamily="2" charset="0"/>
              </a:rPr>
              <a:t>er der sat noget i gang, vi har fået meget svært ved at styre</a:t>
            </a:r>
            <a:r>
              <a:rPr lang="da-DK" sz="2400" dirty="0" smtClean="0">
                <a:latin typeface="Aleo" panose="00000500000000000000" pitchFamily="2" charset="0"/>
              </a:rPr>
              <a:t>. Det har ledt til Aula-angst og Aula-stress blandt både forældre og lærere, pædagoger.”</a:t>
            </a:r>
            <a:r>
              <a:rPr lang="da-DK" sz="2400" dirty="0">
                <a:latin typeface="Aleo" panose="00000500000000000000" pitchFamily="2" charset="0"/>
              </a:rPr>
              <a:t/>
            </a:r>
            <a:br>
              <a:rPr lang="da-DK" sz="2400" dirty="0">
                <a:latin typeface="Aleo" panose="00000500000000000000" pitchFamily="2" charset="0"/>
              </a:rPr>
            </a:b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Oplægsholder</a:t>
            </a:r>
            <a:r>
              <a:rPr kumimoji="0" lang="da-DK" b="0" i="1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 for Tænketanken: </a:t>
            </a: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Sociolog, Maria</a:t>
            </a:r>
            <a:r>
              <a:rPr kumimoji="0" lang="da-DK" b="0" i="1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 Ørskov </a:t>
            </a:r>
            <a:r>
              <a:rPr kumimoji="0" lang="da-DK" b="0" i="1" u="none" strike="noStrike" kern="1200" cap="none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Akselvoll</a:t>
            </a:r>
            <a:r>
              <a:rPr kumimoji="0" lang="da-DK" b="0" i="1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 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</p:txBody>
      </p:sp>
      <p:sp>
        <p:nvSpPr>
          <p:cNvPr id="8" name="Taleboble: rektangel med afrundede hjørner 6">
            <a:extLst>
              <a:ext uri="{FF2B5EF4-FFF2-40B4-BE49-F238E27FC236}">
                <a16:creationId xmlns:a16="http://schemas.microsoft.com/office/drawing/2014/main" id="{EB50BA21-82E5-8C65-5A6C-3AABA6B262F4}"/>
              </a:ext>
            </a:extLst>
          </p:cNvPr>
          <p:cNvSpPr/>
          <p:nvPr/>
        </p:nvSpPr>
        <p:spPr>
          <a:xfrm>
            <a:off x="19800683" y="7559173"/>
            <a:ext cx="3800680" cy="3568818"/>
          </a:xfrm>
          <a:prstGeom prst="wedgeRoundRectCallout">
            <a:avLst/>
          </a:prstGeom>
          <a:solidFill>
            <a:srgbClr val="FD77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400" i="1" dirty="0" smtClean="0">
                <a:solidFill>
                  <a:srgbClr val="FFFFFF"/>
                </a:solidFill>
                <a:latin typeface="Trade Gothic Next Light"/>
              </a:rPr>
              <a:t>”E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t 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stort ønske om at kunne kommunikere mere med lærerne face to face og ikke kun gennem aula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.” </a:t>
            </a:r>
            <a:b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</a:br>
            <a:endParaRPr kumimoji="0" lang="da-DK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  <a:p>
            <a:pPr algn="ctr">
              <a:defRPr/>
            </a:pPr>
            <a:r>
              <a:rPr lang="da-DK" i="1" dirty="0">
                <a:solidFill>
                  <a:srgbClr val="FFFFFF"/>
                </a:solidFill>
                <a:latin typeface="Trade Gothic Next Light"/>
              </a:rPr>
              <a:t>Inddragelsesplatform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</a:rPr>
              <a:t>viskaber.roskilde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</a:endParaRPr>
          </a:p>
        </p:txBody>
      </p:sp>
      <p:sp>
        <p:nvSpPr>
          <p:cNvPr id="9" name="Taleboble: rektangel med afrundede hjørner 1">
            <a:extLst>
              <a:ext uri="{FF2B5EF4-FFF2-40B4-BE49-F238E27FC236}">
                <a16:creationId xmlns:a16="http://schemas.microsoft.com/office/drawing/2014/main" id="{B077DE56-7E3C-E942-E0D7-8E04DB0C7BD6}"/>
              </a:ext>
            </a:extLst>
          </p:cNvPr>
          <p:cNvSpPr/>
          <p:nvPr/>
        </p:nvSpPr>
        <p:spPr>
          <a:xfrm>
            <a:off x="6285521" y="8304625"/>
            <a:ext cx="3570550" cy="2277310"/>
          </a:xfrm>
          <a:prstGeom prst="wedgeRoundRectCallout">
            <a:avLst/>
          </a:prstGeom>
          <a:solidFill>
            <a:srgbClr val="FE9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”Er 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der </a:t>
            </a:r>
            <a:r>
              <a:rPr kumimoji="0" lang="da-DK" sz="24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konflikstof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 i Aula så gå væk fra Aula og tag direkte 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eo" panose="00000500000000000000" pitchFamily="2" charset="0"/>
              </a:rPr>
              <a:t>kontakt”</a:t>
            </a: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eo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/>
            </a:r>
            <a:b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</a:br>
            <a:r>
              <a:rPr kumimoji="0" lang="da-DK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Lederforum</a:t>
            </a:r>
            <a:endParaRPr kumimoji="0" lang="da-DK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</p:txBody>
      </p:sp>
      <p:sp>
        <p:nvSpPr>
          <p:cNvPr id="10" name="Taleboble: rektangel med afrundede hjørner 2">
            <a:extLst>
              <a:ext uri="{FF2B5EF4-FFF2-40B4-BE49-F238E27FC236}">
                <a16:creationId xmlns:a16="http://schemas.microsoft.com/office/drawing/2014/main" id="{94646EA3-C9FA-CF19-867A-F3485BE6C6BD}"/>
              </a:ext>
            </a:extLst>
          </p:cNvPr>
          <p:cNvSpPr/>
          <p:nvPr/>
        </p:nvSpPr>
        <p:spPr>
          <a:xfrm>
            <a:off x="10535465" y="10133631"/>
            <a:ext cx="3019517" cy="2823544"/>
          </a:xfrm>
          <a:prstGeom prst="wedgeRoundRectCallout">
            <a:avLst/>
          </a:prstGeom>
          <a:solidFill>
            <a:srgbClr val="FD77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”De </a:t>
            </a:r>
            <a:r>
              <a:rPr kumimoji="0" lang="da-DK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unges ejerskab for AULA i udskolingen er </a:t>
            </a:r>
            <a: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godt” </a:t>
            </a:r>
            <a:br>
              <a:rPr kumimoji="0" lang="da-DK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</a:b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Next Light"/>
                <a:ea typeface="+mn-ea"/>
                <a:cs typeface="+mn-cs"/>
              </a:rPr>
              <a:t>Dialogfor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ade Gothic Next Light"/>
              <a:ea typeface="+mn-ea"/>
              <a:cs typeface="+mn-cs"/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39C725CB-A79B-2974-6574-B818DC3D65C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2311" y="1609679"/>
            <a:ext cx="1702671" cy="17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04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FD7755"/>
                </a:solidFill>
                <a:ea typeface="Meiryo" panose="020B0604030504040204"/>
              </a:rPr>
              <a:t>God brug af digitale platforme </a:t>
            </a:r>
            <a:endParaRPr lang="da-DK" dirty="0">
              <a:solidFill>
                <a:srgbClr val="FD7755"/>
              </a:solidFill>
              <a:ea typeface="Meiryo" panose="020B0604030504040204"/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796876" y="4606927"/>
            <a:ext cx="21903103" cy="835025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a-DK" sz="2800" b="1" dirty="0" smtClean="0">
                <a:latin typeface="+mj-lt"/>
              </a:rPr>
              <a:t>Det handler om…</a:t>
            </a:r>
            <a:endParaRPr lang="da-DK" sz="2800" dirty="0" smtClean="0">
              <a:latin typeface="+mj-lt"/>
            </a:endParaRPr>
          </a:p>
          <a:p>
            <a:r>
              <a:rPr lang="da-DK" sz="2800" dirty="0"/>
              <a:t>e</a:t>
            </a:r>
            <a:r>
              <a:rPr lang="da-DK" sz="2800" dirty="0" smtClean="0"/>
              <a:t>n opmærksomhed på at flere forældre oplever at den digitale kommunikation er afsenderorienteret og kræver en del it-kompetencer at håndtere. </a:t>
            </a:r>
            <a:br>
              <a:rPr lang="da-DK" sz="2800" dirty="0" smtClean="0"/>
            </a:br>
            <a:endParaRPr lang="da-DK" sz="2800" dirty="0" smtClean="0"/>
          </a:p>
          <a:p>
            <a:r>
              <a:rPr lang="da-DK" sz="2800" dirty="0"/>
              <a:t>e</a:t>
            </a:r>
            <a:r>
              <a:rPr lang="da-DK" sz="2800" dirty="0" smtClean="0"/>
              <a:t>n meget stor mængde af information på de digitale platforme og et behov for bedre balance i </a:t>
            </a:r>
            <a:r>
              <a:rPr lang="da-DK" sz="2800" dirty="0" err="1" smtClean="0"/>
              <a:t>need</a:t>
            </a:r>
            <a:r>
              <a:rPr lang="da-DK" sz="2800" dirty="0" smtClean="0"/>
              <a:t> to know og </a:t>
            </a:r>
            <a:r>
              <a:rPr lang="da-DK" sz="2800" dirty="0" err="1" smtClean="0"/>
              <a:t>nice</a:t>
            </a:r>
            <a:r>
              <a:rPr lang="da-DK" sz="2800" dirty="0" smtClean="0"/>
              <a:t> to know.   </a:t>
            </a:r>
            <a:br>
              <a:rPr lang="da-DK" sz="2800" dirty="0" smtClean="0"/>
            </a:br>
            <a:endParaRPr lang="da-DK" sz="2800" dirty="0" smtClean="0"/>
          </a:p>
          <a:p>
            <a:pPr marL="285750" indent="-285750"/>
            <a:r>
              <a:rPr lang="da-DK" sz="2800" dirty="0"/>
              <a:t>b</a:t>
            </a:r>
            <a:r>
              <a:rPr lang="da-DK" sz="2800" dirty="0" smtClean="0"/>
              <a:t>ehov for forventningsafstemning </a:t>
            </a:r>
            <a:r>
              <a:rPr lang="da-DK" sz="2800" dirty="0"/>
              <a:t>om brugen af </a:t>
            </a:r>
            <a:r>
              <a:rPr lang="da-DK" sz="2800" dirty="0" smtClean="0"/>
              <a:t>aula og andre digitale platforme. </a:t>
            </a:r>
            <a:br>
              <a:rPr lang="da-DK" sz="2800" dirty="0" smtClean="0"/>
            </a:br>
            <a:endParaRPr lang="da-DK" sz="2800" dirty="0" smtClean="0"/>
          </a:p>
          <a:p>
            <a:pPr marL="285750" indent="-285750"/>
            <a:r>
              <a:rPr lang="da-DK" sz="2800" dirty="0" smtClean="0"/>
              <a:t>opmærksomhed </a:t>
            </a:r>
            <a:r>
              <a:rPr lang="da-DK" sz="2800" dirty="0"/>
              <a:t>på, at konfliktstof ikke egner sig til digitale kanaler. </a:t>
            </a:r>
            <a:r>
              <a:rPr lang="da-DK" sz="2800" dirty="0" smtClean="0"/>
              <a:t>Konfliktstof </a:t>
            </a:r>
            <a:r>
              <a:rPr lang="da-DK" sz="2800" dirty="0"/>
              <a:t>kan med fordel erstattes af telefonopkald eller et fysisk møde. </a:t>
            </a:r>
          </a:p>
          <a:p>
            <a:pPr marL="285750" indent="-285750"/>
            <a:endParaRPr lang="da-DK" sz="2800" dirty="0"/>
          </a:p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7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Anbefaling 2) God brug af digitale platforme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39C725CB-A79B-2974-6574-B818DC3D65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2311" y="1609679"/>
            <a:ext cx="1702671" cy="17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7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FD7755"/>
                </a:solidFill>
              </a:rPr>
              <a:t>Spørgsmål til dialog</a:t>
            </a:r>
            <a:endParaRPr lang="da-DK" dirty="0">
              <a:solidFill>
                <a:srgbClr val="FD7755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/>
            <a:r>
              <a:rPr lang="da-DK" sz="2800" dirty="0" smtClean="0"/>
              <a:t>Hvordan kan vi løbende arbejde med god brug af digitale platforme ud fra de forskellige brugeres perspektiv:  </a:t>
            </a:r>
            <a:br>
              <a:rPr lang="da-DK" sz="2800" dirty="0" smtClean="0"/>
            </a:br>
            <a:r>
              <a:rPr lang="da-DK" sz="2800" dirty="0" smtClean="0"/>
              <a:t>Fagpersonale</a:t>
            </a:r>
            <a:r>
              <a:rPr lang="da-DK" sz="2800" dirty="0"/>
              <a:t>, f</a:t>
            </a:r>
            <a:r>
              <a:rPr lang="da-DK" sz="2800" dirty="0" smtClean="0"/>
              <a:t>orældre</a:t>
            </a:r>
            <a:r>
              <a:rPr lang="da-DK" sz="2800" dirty="0"/>
              <a:t>, </a:t>
            </a:r>
            <a:r>
              <a:rPr lang="da-DK" sz="2800" dirty="0" smtClean="0"/>
              <a:t>børn og unge? </a:t>
            </a:r>
          </a:p>
          <a:p>
            <a:pPr marL="0" indent="0">
              <a:buNone/>
            </a:pPr>
            <a:endParaRPr lang="da-DK" sz="2800" dirty="0" smtClean="0"/>
          </a:p>
          <a:p>
            <a:pPr marL="171450" indent="-171450">
              <a:spcBef>
                <a:spcPts val="600"/>
              </a:spcBef>
            </a:pPr>
            <a:r>
              <a:rPr lang="da-DK" sz="2800" dirty="0" smtClean="0"/>
              <a:t> Arbejder vi ud fra en lokal og brugbar strategi for, hvordan vi kommunikerer på Aula og andre platforme? </a:t>
            </a:r>
            <a:endParaRPr lang="da-DK" sz="2800" dirty="0"/>
          </a:p>
          <a:p>
            <a:pPr marL="171450" indent="-171450">
              <a:spcBef>
                <a:spcPts val="600"/>
              </a:spcBef>
            </a:pPr>
            <a:endParaRPr lang="da-DK" sz="2800" dirty="0" smtClean="0"/>
          </a:p>
          <a:p>
            <a:pPr marL="171450" indent="-171450">
              <a:spcBef>
                <a:spcPts val="600"/>
              </a:spcBef>
            </a:pPr>
            <a:r>
              <a:rPr lang="da-DK" sz="2800" dirty="0" smtClean="0"/>
              <a:t> Har vi opmærksomhed på at sprogbruget i den digitale kommunikation understøtter det gode samarbejde? </a:t>
            </a:r>
          </a:p>
          <a:p>
            <a:pPr marL="548640" lvl="1" indent="0">
              <a:buNone/>
            </a:pPr>
            <a:r>
              <a:rPr lang="da-DK" sz="2800" dirty="0" smtClean="0"/>
              <a:t> </a:t>
            </a:r>
          </a:p>
          <a:p>
            <a:pPr marL="171450" indent="-171450">
              <a:spcBef>
                <a:spcPts val="600"/>
              </a:spcBef>
            </a:pPr>
            <a:r>
              <a:rPr lang="da-DK" sz="2800" dirty="0" smtClean="0"/>
              <a:t> Forventningsafstemmer vi med forældrene, hvordan vi kommunikerer digitalt? </a:t>
            </a:r>
          </a:p>
          <a:p>
            <a:pPr lvl="1">
              <a:buFont typeface="Montserrat Medium" panose="00000600000000000000" pitchFamily="2" charset="0"/>
              <a:buChar char="–"/>
            </a:pPr>
            <a:r>
              <a:rPr lang="da-DK" sz="2800" dirty="0" smtClean="0"/>
              <a:t>Hvad forventer vi af forældrenes brug af f.eks. Aula? </a:t>
            </a:r>
          </a:p>
          <a:p>
            <a:pPr lvl="1">
              <a:buFont typeface="Montserrat Medium" panose="00000600000000000000" pitchFamily="2" charset="0"/>
              <a:buChar char="–"/>
            </a:pPr>
            <a:r>
              <a:rPr lang="da-DK" sz="2800" dirty="0" smtClean="0"/>
              <a:t>Hvilke forventninger har forældrene til informationsniveauet?  Hvornår er nok, nok? </a:t>
            </a:r>
          </a:p>
          <a:p>
            <a:pPr marL="0" indent="0">
              <a:spcBef>
                <a:spcPts val="600"/>
              </a:spcBef>
              <a:buNone/>
            </a:pPr>
            <a:endParaRPr lang="da-DK" sz="2800" dirty="0" smtClean="0"/>
          </a:p>
          <a:p>
            <a:pPr marL="285750" indent="-285750"/>
            <a:r>
              <a:rPr lang="da-DK" sz="2800" dirty="0" smtClean="0"/>
              <a:t>Hvordan håndterer vi at forældre har forskellige forudsætninger for brugen af Aula? </a:t>
            </a:r>
          </a:p>
          <a:p>
            <a:pPr marL="285750" indent="-285750"/>
            <a:endParaRPr lang="da-DK" sz="2800" dirty="0"/>
          </a:p>
          <a:p>
            <a:pPr marL="285750" indent="-285750"/>
            <a:r>
              <a:rPr lang="da-DK" sz="2800" dirty="0" smtClean="0"/>
              <a:t>For at skabe forandring inden for dette tema, hvad er så det </a:t>
            </a:r>
            <a:r>
              <a:rPr lang="da-DK" sz="2800" dirty="0"/>
              <a:t>næste skridt </a:t>
            </a:r>
            <a:r>
              <a:rPr lang="da-DK" sz="2800" dirty="0" smtClean="0"/>
              <a:t>for bestyrelsen/FKU</a:t>
            </a:r>
            <a:r>
              <a:rPr lang="da-DK" sz="2800" dirty="0"/>
              <a:t>, medarbejdere og ledelse?  </a:t>
            </a:r>
          </a:p>
          <a:p>
            <a:pPr marL="285750" indent="-285750"/>
            <a:endParaRPr lang="da-DK" sz="3200" dirty="0" smtClean="0"/>
          </a:p>
          <a:p>
            <a:pPr marL="285750" indent="-285750"/>
            <a:endParaRPr lang="da-DK" sz="3200" dirty="0"/>
          </a:p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Anbefaling 2) God brug af digitale platforme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8</a:t>
            </a:fld>
            <a:endParaRPr 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39C725CB-A79B-2974-6574-B818DC3D65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23" y="1749528"/>
            <a:ext cx="1702671" cy="17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62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12231146" y="4023359"/>
            <a:ext cx="11370833" cy="7777779"/>
          </a:xfrm>
          <a:prstGeom prst="rect">
            <a:avLst/>
          </a:prstGeom>
          <a:solidFill>
            <a:srgbClr val="FEAA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ktangel 8"/>
          <p:cNvSpPr/>
          <p:nvPr/>
        </p:nvSpPr>
        <p:spPr>
          <a:xfrm>
            <a:off x="559398" y="4023360"/>
            <a:ext cx="11370833" cy="7777779"/>
          </a:xfrm>
          <a:prstGeom prst="rect">
            <a:avLst/>
          </a:prstGeom>
          <a:solidFill>
            <a:srgbClr val="FE88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6876" y="2359987"/>
            <a:ext cx="22785492" cy="1515272"/>
          </a:xfrm>
        </p:spPr>
        <p:txBody>
          <a:bodyPr/>
          <a:lstStyle/>
          <a:p>
            <a:r>
              <a:rPr lang="da-DK" dirty="0" smtClean="0">
                <a:solidFill>
                  <a:srgbClr val="FD7755"/>
                </a:solidFill>
              </a:rPr>
              <a:t>2) Inspirationsmaterialer om god brug af digitale platforme</a:t>
            </a:r>
            <a:endParaRPr lang="da-DK" dirty="0">
              <a:solidFill>
                <a:srgbClr val="FD7755"/>
              </a:solidFill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noFill/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da-DK" sz="4000" b="1" dirty="0" smtClean="0">
                <a:latin typeface="+mj-lt"/>
              </a:rPr>
              <a:t>Dagtilbud</a:t>
            </a:r>
          </a:p>
          <a:p>
            <a:pPr marL="0" indent="0">
              <a:buNone/>
            </a:pPr>
            <a:r>
              <a:rPr lang="da-DK" sz="3600" dirty="0"/>
              <a:t>Anvendelsesstrategi </a:t>
            </a:r>
            <a:r>
              <a:rPr lang="da-DK" sz="3600" dirty="0" smtClean="0"/>
              <a:t>og materialer målrettet forældre og medarbejdere om brugen af Aula i dagtilbud i </a:t>
            </a:r>
            <a:r>
              <a:rPr lang="da-DK" sz="3600" dirty="0"/>
              <a:t>Roskilde Kommune  </a:t>
            </a:r>
            <a:r>
              <a:rPr lang="da-DK" sz="3600" dirty="0" smtClean="0"/>
              <a:t/>
            </a:r>
            <a:br>
              <a:rPr lang="da-DK" sz="3600" dirty="0" smtClean="0"/>
            </a:br>
            <a:endParaRPr lang="da-DK" sz="3600" dirty="0" smtClean="0"/>
          </a:p>
          <a:p>
            <a:pPr marL="0" indent="0">
              <a:buNone/>
            </a:pPr>
            <a:r>
              <a:rPr lang="da-DK" sz="3600" dirty="0" smtClean="0"/>
              <a:t>Find materialerne på </a:t>
            </a:r>
            <a:r>
              <a:rPr lang="da-DK" sz="3600" dirty="0" err="1" smtClean="0"/>
              <a:t>intra</a:t>
            </a:r>
            <a:r>
              <a:rPr lang="da-DK" sz="3600" dirty="0" smtClean="0"/>
              <a:t>: </a:t>
            </a:r>
            <a:br>
              <a:rPr lang="da-DK" sz="3600" dirty="0" smtClean="0"/>
            </a:br>
            <a:r>
              <a:rPr lang="da-DK" sz="3200" dirty="0" smtClean="0">
                <a:hlinkClick r:id="rId2"/>
              </a:rPr>
              <a:t>Dagtilbud </a:t>
            </a:r>
            <a:r>
              <a:rPr lang="da-DK" sz="3200" dirty="0">
                <a:hlinkClick r:id="rId2"/>
              </a:rPr>
              <a:t>- Aula og KMD I2 - RK </a:t>
            </a:r>
            <a:r>
              <a:rPr lang="da-DK" sz="3200" dirty="0" err="1">
                <a:hlinkClick r:id="rId2"/>
              </a:rPr>
              <a:t>intra</a:t>
            </a:r>
            <a:r>
              <a:rPr lang="da-DK" sz="3200" dirty="0">
                <a:hlinkClick r:id="rId2"/>
              </a:rPr>
              <a:t> (roskilde.dk</a:t>
            </a:r>
            <a:r>
              <a:rPr lang="da-DK" sz="3200" dirty="0" smtClean="0">
                <a:hlinkClick r:id="rId2"/>
              </a:rPr>
              <a:t>)</a:t>
            </a:r>
            <a:r>
              <a:rPr lang="da-DK" sz="3200" dirty="0" smtClean="0"/>
              <a:t> </a:t>
            </a:r>
            <a:endParaRPr lang="da-DK" sz="3200" dirty="0"/>
          </a:p>
          <a:p>
            <a:pPr marL="0" indent="0">
              <a:buNone/>
            </a:pPr>
            <a:endParaRPr lang="da-DK" sz="3600" b="1" dirty="0" smtClean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da-DK" sz="4400" b="1" dirty="0" smtClean="0">
                <a:latin typeface="+mj-lt"/>
              </a:rPr>
              <a:t>Skole</a:t>
            </a:r>
            <a:r>
              <a:rPr lang="da-DK" dirty="0" smtClean="0">
                <a:latin typeface="+mj-lt"/>
              </a:rPr>
              <a:t> </a:t>
            </a:r>
          </a:p>
          <a:p>
            <a:pPr marL="0" indent="0">
              <a:buNone/>
            </a:pPr>
            <a:r>
              <a:rPr lang="da-DK" dirty="0"/>
              <a:t>Principper for brug af Aula udarbejdes lokalt</a:t>
            </a:r>
            <a:endParaRPr lang="da-DK" sz="4000" dirty="0"/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nbefaling 2) God brug af digitale platforme</a:t>
            </a:r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14068-1FDC-406F-8DC9-A3ED74E5E153}" type="slidenum">
              <a:rPr lang="da-DK" smtClean="0"/>
              <a:t>9</a:t>
            </a:fld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9C725CB-A79B-2974-6574-B818DC3D65C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9695" y="1905622"/>
            <a:ext cx="1702671" cy="17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60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skilde Kommune - sort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9190DD14-7628-47E8-A572-5542055997C4}"/>
    </a:ext>
  </a:extLst>
</a:theme>
</file>

<file path=ppt/theme/theme2.xml><?xml version="1.0" encoding="utf-8"?>
<a:theme xmlns:a="http://schemas.openxmlformats.org/drawingml/2006/main" name="Roskilde Kommune - hvid logo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PP">
      <a:majorFont>
        <a:latin typeface="Montserrat Black italic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.potx" id="{CA702111-2550-4A74-A8E6-F2E49D66B0B2}" vid="{EAAA2816-C24C-40BF-822C-F70E5C3F014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skabelon</Template>
  <TotalTime>1026</TotalTime>
  <Words>1315</Words>
  <Application>Microsoft Office PowerPoint</Application>
  <PresentationFormat>Brugerdefineret</PresentationFormat>
  <Paragraphs>143</Paragraphs>
  <Slides>9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9" baseType="lpstr">
      <vt:lpstr>Calibri</vt:lpstr>
      <vt:lpstr>Montserrat Black italic</vt:lpstr>
      <vt:lpstr>Trade Gothic Next Light</vt:lpstr>
      <vt:lpstr>Montserrat Medium</vt:lpstr>
      <vt:lpstr>Meiryo</vt:lpstr>
      <vt:lpstr>Arial</vt:lpstr>
      <vt:lpstr>Aleo</vt:lpstr>
      <vt:lpstr>Roskilde Kommune - sort logo</vt:lpstr>
      <vt:lpstr>Roskilde Kommune - hvid logo</vt:lpstr>
      <vt:lpstr>think-cell Slide</vt:lpstr>
      <vt:lpstr>Anbefalinger til fremtidens forældresamarbejde </vt:lpstr>
      <vt:lpstr>De rette mødeformer og -rum</vt:lpstr>
      <vt:lpstr>De rette mødeformer og -rum</vt:lpstr>
      <vt:lpstr>Spørgsmål til dialog</vt:lpstr>
      <vt:lpstr>Inspirationsmaterialer</vt:lpstr>
      <vt:lpstr>God brug af digitale platforme</vt:lpstr>
      <vt:lpstr>God brug af digitale platforme </vt:lpstr>
      <vt:lpstr>Spørgsmål til dialog</vt:lpstr>
      <vt:lpstr>2) Inspirationsmaterialer om god brug af digitale platforme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ars Elmsted</dc:creator>
  <cp:lastModifiedBy>Janni Marker</cp:lastModifiedBy>
  <cp:revision>92</cp:revision>
  <dcterms:created xsi:type="dcterms:W3CDTF">2023-10-16T10:57:26Z</dcterms:created>
  <dcterms:modified xsi:type="dcterms:W3CDTF">2024-02-05T10:18:58Z</dcterms:modified>
</cp:coreProperties>
</file>